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64" r:id="rId5"/>
  </p:sldMasterIdLst>
  <p:notesMasterIdLst>
    <p:notesMasterId r:id="rId9"/>
  </p:notesMasterIdLst>
  <p:handoutMasterIdLst>
    <p:handoutMasterId r:id="rId10"/>
  </p:handoutMasterIdLst>
  <p:sldIdLst>
    <p:sldId id="2147474876" r:id="rId6"/>
    <p:sldId id="2147479416" r:id="rId7"/>
    <p:sldId id="2147479429" r:id="rId8"/>
  </p:sldIdLst>
  <p:sldSz cx="12192000" cy="6858000"/>
  <p:notesSz cx="6797675" cy="9926638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5" userDrawn="1">
          <p15:clr>
            <a:srgbClr val="A4A3A4"/>
          </p15:clr>
        </p15:guide>
        <p15:guide id="2" pos="4087" userDrawn="1">
          <p15:clr>
            <a:srgbClr val="A4A3A4"/>
          </p15:clr>
        </p15:guide>
        <p15:guide id="3" pos="5418" userDrawn="1">
          <p15:clr>
            <a:srgbClr val="A4A3A4"/>
          </p15:clr>
        </p15:guide>
        <p15:guide id="4" pos="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6" pos="342" userDrawn="1">
          <p15:clr>
            <a:srgbClr val="A4A3A4"/>
          </p15:clr>
        </p15:guide>
        <p15:guide id="7" pos="5142" userDrawn="1">
          <p15:clr>
            <a:srgbClr val="A4A3A4"/>
          </p15:clr>
        </p15:guide>
        <p15:guide id="8" orient="horz" pos="1097" userDrawn="1">
          <p15:clr>
            <a:srgbClr val="A4A3A4"/>
          </p15:clr>
        </p15:guide>
        <p15:guide id="9" orient="horz" pos="750" userDrawn="1">
          <p15:clr>
            <a:srgbClr val="A4A3A4"/>
          </p15:clr>
        </p15:guide>
        <p15:guide id="10" orient="horz" pos="2976" userDrawn="1">
          <p15:clr>
            <a:srgbClr val="A4A3A4"/>
          </p15:clr>
        </p15:guide>
        <p15:guide id="11" pos="26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14AF42-54B0-E0FA-71FE-BAF5F6400FCD}" name="Marina Schröppel" initials="MS" userId="S::Marina.Schroeppel@k16.de::d8d2b0b3-9ab6-48a8-a482-cc98a9fc6c13" providerId="AD"/>
  <p188:author id="{E5874C99-5CC8-9C30-9BAB-8F46DFF85EE9}" name="Maximilian Ong" initials="MO" userId="S::maximilian.ong@catena-x.net::952896e6-d716-442e-b801-25bf2f9c243d" providerId="AD"/>
  <p188:author id="{130442BB-6FD2-CAC1-4E9F-E68B19DB8258}" name="Gerbig Felix, FG-231" initials="GF" userId="S::felix.gerbig_bmw.de#ext#@bcgcatenax.onmicrosoft.com::32457ab3-69b4-4480-81e3-cb74a6360a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582D"/>
    <a:srgbClr val="D91E18"/>
    <a:srgbClr val="E6A327"/>
    <a:srgbClr val="BF7100"/>
    <a:srgbClr val="DD8200"/>
    <a:srgbClr val="FFA600"/>
    <a:srgbClr val="617000"/>
    <a:srgbClr val="FF0066"/>
    <a:srgbClr val="A8BB37"/>
    <a:srgbClr val="B3CB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11"/>
    <p:restoredTop sz="94721" autoAdjust="0"/>
  </p:normalViewPr>
  <p:slideViewPr>
    <p:cSldViewPr snapToGrid="0">
      <p:cViewPr varScale="1">
        <p:scale>
          <a:sx n="72" d="100"/>
          <a:sy n="72" d="100"/>
        </p:scale>
        <p:origin x="1018" y="72"/>
      </p:cViewPr>
      <p:guideLst>
        <p:guide orient="horz" pos="1445"/>
        <p:guide pos="4087"/>
        <p:guide pos="5418"/>
        <p:guide pos="54"/>
        <p:guide orient="horz" pos="2614"/>
        <p:guide pos="342"/>
        <p:guide pos="5142"/>
        <p:guide orient="horz" pos="1097"/>
        <p:guide orient="horz" pos="750"/>
        <p:guide orient="horz" pos="2976"/>
        <p:guide pos="26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2.03.2024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2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2471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595959"/>
                </a:solidFill>
                <a:latin typeface="Manrope" panose="020B0604020202020204" charset="0"/>
              </a:rPr>
              <a:t>The goal of Catena-X is to empower data-driven use cases to address the current challenges of sustainability, resiliency, and quality. Within the automotive industry, these challenges predominantly revolve around optimizing parts, components, and materials.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anrope" panose="020B0604020202020204" charset="0"/>
                <a:cs typeface="Arial" panose="020B0604020202020204" pitchFamily="34" charset="0"/>
              </a:rPr>
              <a:t> This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anrope" panose="020B0604020202020204" charset="0"/>
                <a:cs typeface="Arial" panose="020B0604020202020204" pitchFamily="34" charset="0"/>
              </a:rPr>
              <a:t>ist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anrope" panose="020B0604020202020204" charset="0"/>
                <a:cs typeface="Arial" panose="020B0604020202020204" pitchFamily="34" charset="0"/>
              </a:rPr>
              <a:t> was keeps us together and defines our relationship: parts and their subparts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A421D5-8C01-4515-AA97-9E361E855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Ligh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256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achliche Integration</a:t>
            </a:r>
          </a:p>
          <a:p>
            <a:r>
              <a:rPr lang="de-DE" dirty="0"/>
              <a:t>Was ist das </a:t>
            </a:r>
            <a:r>
              <a:rPr lang="de-DE" dirty="0" err="1"/>
              <a:t>Deliverable</a:t>
            </a:r>
            <a:r>
              <a:rPr lang="de-DE" dirty="0"/>
              <a:t>? Standards / KITs / Lösung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A421D5-8C01-4515-AA97-9E361E855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Ligh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738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80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Manrope SemiBold" pitchFamily="2" charset="0"/>
                <a:ea typeface="+mj-ea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Manrope SemiBold" pitchFamily="2" charset="0"/>
                <a:ea typeface="+mj-ea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Manrope SemiBold" pitchFamily="2" charset="0"/>
                <a:ea typeface="+mj-ea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Manrope SemiBold" pitchFamily="2" charset="0"/>
                <a:ea typeface="+mj-ea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ea typeface="+mj-ea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82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91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50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Manrope Light" pitchFamily="2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Manrope Light" pitchFamily="2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18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5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22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18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42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42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85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98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17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61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85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70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/>
                <a:t>www.catena-x.n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749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87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768437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364" y="2024062"/>
            <a:ext cx="10710102" cy="435768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5000"/>
              <a:buFontTx/>
              <a:buNone/>
              <a:defRPr sz="2400">
                <a:latin typeface="Manrope Light" pitchFamily="2" charset="0"/>
              </a:defRPr>
            </a:lvl1pPr>
            <a:lvl2pPr marL="266700" indent="-266700"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  <a:tabLst>
                <a:tab pos="266700" algn="l"/>
                <a:tab pos="355600" algn="l"/>
              </a:tabLst>
              <a:defRPr sz="2400">
                <a:latin typeface="Manrope Light" pitchFamily="2" charset="0"/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 err="1"/>
              <a:t>uiluiilzu</a:t>
            </a:r>
            <a:endParaRPr lang="de-DE" dirty="0"/>
          </a:p>
          <a:p>
            <a:pPr lvl="0"/>
            <a:r>
              <a:rPr lang="de-DE" dirty="0" err="1"/>
              <a:t>hkfhkfhk</a:t>
            </a:r>
            <a:endParaRPr lang="de-DE" dirty="0"/>
          </a:p>
          <a:p>
            <a:pPr lvl="0"/>
            <a:r>
              <a:rPr lang="de-DE" dirty="0" err="1"/>
              <a:t>fhkfhkf</a:t>
            </a:r>
            <a:endParaRPr lang="de-DE" dirty="0"/>
          </a:p>
          <a:p>
            <a:pPr lvl="0"/>
            <a:r>
              <a:rPr lang="de-DE" dirty="0" err="1"/>
              <a:t>fhkfh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36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604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Action Title. 26pt. All Caps. </a:t>
            </a:r>
            <a:r>
              <a:rPr lang="de-DE" noProof="0" err="1"/>
              <a:t>Two</a:t>
            </a:r>
            <a:r>
              <a:rPr lang="de-DE" noProof="0"/>
              <a:t> </a:t>
            </a:r>
            <a:r>
              <a:rPr lang="de-DE" noProof="0" err="1"/>
              <a:t>lines</a:t>
            </a:r>
            <a:r>
              <a:rPr lang="de-DE" noProof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587889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70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99607F-15C5-B5EA-EAC3-C4FF2FC6B3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691581F-410C-03DF-E95B-6EB0BAA25B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3726786-02BC-256B-1A1D-7E25F1494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fld id="{C1903A33-A3E1-554A-AB40-1FC179502907}" type="datetimeFigureOut">
              <a:rPr lang="de-DE" smtClean="0"/>
              <a:pPr/>
              <a:t>22.03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E221A5-D57D-872F-923A-BE0A93592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B03C1A-17C1-EE0C-3AC7-30A47A945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EBB50F-786F-4B40-B86E-BA45BB85FA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6102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SemiBold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Light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8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0872543-500F-60D5-3D4E-C0965B92638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4222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orpoS" pitchFamily="2" charset="77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Manrope SemiBold" pitchFamily="2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57BD5E5-BC40-D996-4460-245BFFE8F6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/>
          <a:srcRect r="513"/>
          <a:stretch/>
        </p:blipFill>
        <p:spPr>
          <a:xfrm>
            <a:off x="0" y="0"/>
            <a:ext cx="12198419" cy="6858000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8E0FC25-143C-7884-59DF-61444E494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2525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59" imgH="360" progId="TCLayout.ActiveDocument.1">
                  <p:embed/>
                </p:oleObj>
              </mc:Choice>
              <mc:Fallback>
                <p:oleObj name="think-cell Folie" r:id="rId26" imgW="359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0FC25-143C-7884-59DF-61444E494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729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1"/>
          </a:solidFill>
          <a:latin typeface="Manrope Light" pitchFamily="2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bg1"/>
          </a:solidFill>
          <a:latin typeface="Manrope Light" pitchFamily="2" charset="0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Manrope Light" pitchFamily="2" charset="0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bg1"/>
          </a:solidFill>
          <a:latin typeface="Manrope Light" pitchFamily="2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80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image" Target="../media/image12.png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6.wdp"/><Relationship Id="rId18" Type="http://schemas.openxmlformats.org/officeDocument/2006/relationships/image" Target="../media/image23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25.png"/><Relationship Id="rId7" Type="http://schemas.microsoft.com/office/2007/relationships/hdphoto" Target="../media/hdphoto3.wdp"/><Relationship Id="rId12" Type="http://schemas.openxmlformats.org/officeDocument/2006/relationships/image" Target="../media/image20.png"/><Relationship Id="rId17" Type="http://schemas.microsoft.com/office/2007/relationships/hdphoto" Target="../media/hdphoto8.wdp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22.png"/><Relationship Id="rId20" Type="http://schemas.openxmlformats.org/officeDocument/2006/relationships/image" Target="../media/image24.jpeg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11" Type="http://schemas.microsoft.com/office/2007/relationships/hdphoto" Target="../media/hdphoto5.wdp"/><Relationship Id="rId24" Type="http://schemas.openxmlformats.org/officeDocument/2006/relationships/image" Target="../media/image28.svg"/><Relationship Id="rId5" Type="http://schemas.openxmlformats.org/officeDocument/2006/relationships/image" Target="../media/image9.emf"/><Relationship Id="rId15" Type="http://schemas.microsoft.com/office/2007/relationships/hdphoto" Target="../media/hdphoto7.wdp"/><Relationship Id="rId23" Type="http://schemas.openxmlformats.org/officeDocument/2006/relationships/image" Target="../media/image27.png"/><Relationship Id="rId10" Type="http://schemas.openxmlformats.org/officeDocument/2006/relationships/image" Target="../media/image19.png"/><Relationship Id="rId19" Type="http://schemas.microsoft.com/office/2007/relationships/hdphoto" Target="../media/hdphoto9.wdp"/><Relationship Id="rId4" Type="http://schemas.openxmlformats.org/officeDocument/2006/relationships/oleObject" Target="../embeddings/oleObject3.bin"/><Relationship Id="rId9" Type="http://schemas.microsoft.com/office/2007/relationships/hdphoto" Target="../media/hdphoto4.wdp"/><Relationship Id="rId14" Type="http://schemas.openxmlformats.org/officeDocument/2006/relationships/image" Target="../media/image21.png"/><Relationship Id="rId22" Type="http://schemas.openxmlformats.org/officeDocument/2006/relationships/image" Target="../media/image2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9.emf"/><Relationship Id="rId18" Type="http://schemas.openxmlformats.org/officeDocument/2006/relationships/image" Target="../media/image40.png"/><Relationship Id="rId26" Type="http://schemas.openxmlformats.org/officeDocument/2006/relationships/image" Target="../media/image44.sv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25.png"/><Relationship Id="rId7" Type="http://schemas.openxmlformats.org/officeDocument/2006/relationships/image" Target="../media/image32.svg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39.png"/><Relationship Id="rId25" Type="http://schemas.openxmlformats.org/officeDocument/2006/relationships/image" Target="../media/image43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tags" Target="../tags/tag5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24" Type="http://schemas.openxmlformats.org/officeDocument/2006/relationships/image" Target="../media/image28.svg"/><Relationship Id="rId5" Type="http://schemas.openxmlformats.org/officeDocument/2006/relationships/image" Target="../media/image30.svg"/><Relationship Id="rId15" Type="http://schemas.openxmlformats.org/officeDocument/2006/relationships/image" Target="../media/image37.png"/><Relationship Id="rId23" Type="http://schemas.openxmlformats.org/officeDocument/2006/relationships/image" Target="../media/image27.png"/><Relationship Id="rId10" Type="http://schemas.openxmlformats.org/officeDocument/2006/relationships/image" Target="../media/image35.png"/><Relationship Id="rId19" Type="http://schemas.openxmlformats.org/officeDocument/2006/relationships/image" Target="../media/image41.png"/><Relationship Id="rId4" Type="http://schemas.openxmlformats.org/officeDocument/2006/relationships/image" Target="../media/image29.png"/><Relationship Id="rId9" Type="http://schemas.openxmlformats.org/officeDocument/2006/relationships/image" Target="../media/image34.svg"/><Relationship Id="rId14" Type="http://schemas.openxmlformats.org/officeDocument/2006/relationships/image" Target="../media/image24.jpeg"/><Relationship Id="rId22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lendar for the year 2023 by month. The first day of the week is Monday.">
            <a:extLst>
              <a:ext uri="{FF2B5EF4-FFF2-40B4-BE49-F238E27FC236}">
                <a16:creationId xmlns:a16="http://schemas.microsoft.com/office/drawing/2014/main" id="{FB19C266-FB4E-815A-E5AC-8204A3AD46D1}"/>
              </a:ext>
            </a:extLst>
          </p:cNvPr>
          <p:cNvSpPr txBox="1"/>
          <p:nvPr/>
        </p:nvSpPr>
        <p:spPr>
          <a:xfrm>
            <a:off x="7875828" y="6062173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Semi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DATACHAIN </a:t>
            </a:r>
            <a:b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</a:br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KI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48979E-751F-BAE4-4AE0-AD8369FCEA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228" y="5991388"/>
            <a:ext cx="441517" cy="378000"/>
          </a:xfrm>
          <a:prstGeom prst="rect">
            <a:avLst/>
          </a:prstGeom>
        </p:spPr>
      </p:pic>
      <p:sp>
        <p:nvSpPr>
          <p:cNvPr id="19" name="Calendar for the year 2023 by month. The first day of the week is Monday.">
            <a:extLst>
              <a:ext uri="{FF2B5EF4-FFF2-40B4-BE49-F238E27FC236}">
                <a16:creationId xmlns:a16="http://schemas.microsoft.com/office/drawing/2014/main" id="{FAAA7459-E46E-04BB-01E9-C30B974B4235}"/>
              </a:ext>
            </a:extLst>
          </p:cNvPr>
          <p:cNvSpPr txBox="1"/>
          <p:nvPr/>
        </p:nvSpPr>
        <p:spPr>
          <a:xfrm>
            <a:off x="6574251" y="6062173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Extra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CONNECTOR KIT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F88E60-0D98-8522-5B88-B6076EA588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546" y="5991388"/>
            <a:ext cx="443066" cy="378000"/>
          </a:xfrm>
          <a:prstGeom prst="rect">
            <a:avLst/>
          </a:prstGeom>
        </p:spPr>
      </p:pic>
      <p:sp>
        <p:nvSpPr>
          <p:cNvPr id="10" name="Calendar for the year 2023 by month. The first day of the week is Monday.">
            <a:extLst>
              <a:ext uri="{FF2B5EF4-FFF2-40B4-BE49-F238E27FC236}">
                <a16:creationId xmlns:a16="http://schemas.microsoft.com/office/drawing/2014/main" id="{B3F492BD-0243-C806-C3D2-5D61E0BBAD67}"/>
              </a:ext>
            </a:extLst>
          </p:cNvPr>
          <p:cNvSpPr txBox="1"/>
          <p:nvPr/>
        </p:nvSpPr>
        <p:spPr>
          <a:xfrm>
            <a:off x="1153523" y="5303291"/>
            <a:ext cx="1158885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 algn="ctr"/>
            <a:r>
              <a:rPr lang="de-DE" sz="1050" dirty="0">
                <a:solidFill>
                  <a:schemeClr val="bg1"/>
                </a:solidFill>
                <a:latin typeface="Manrope ExtraBold" pitchFamily="2" charset="0"/>
              </a:rPr>
              <a:t>INDUSTRY CORE KIT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1A0FD638-7EEA-1C18-8C37-1BBD4FCAAD81}"/>
              </a:ext>
            </a:extLst>
          </p:cNvPr>
          <p:cNvSpPr/>
          <p:nvPr/>
        </p:nvSpPr>
        <p:spPr>
          <a:xfrm>
            <a:off x="2723172" y="3157295"/>
            <a:ext cx="7390434" cy="755419"/>
          </a:xfrm>
          <a:prstGeom prst="roundRect">
            <a:avLst>
              <a:gd name="adj" fmla="val 50000"/>
            </a:avLst>
          </a:prstGeom>
          <a:solidFill>
            <a:srgbClr val="BF71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3A63863E-F02A-BF44-886A-AC911DA25869}"/>
              </a:ext>
            </a:extLst>
          </p:cNvPr>
          <p:cNvSpPr/>
          <p:nvPr/>
        </p:nvSpPr>
        <p:spPr>
          <a:xfrm rot="2032743" flipH="1">
            <a:off x="-8239157" y="-9026498"/>
            <a:ext cx="23959959" cy="17246494"/>
          </a:xfrm>
          <a:custGeom>
            <a:avLst/>
            <a:gdLst>
              <a:gd name="connsiteX0" fmla="*/ 126068 w 669933"/>
              <a:gd name="connsiteY0" fmla="*/ 14016 h 482221"/>
              <a:gd name="connsiteX1" fmla="*/ 246464 w 669933"/>
              <a:gd name="connsiteY1" fmla="*/ 104884 h 482221"/>
              <a:gd name="connsiteX2" fmla="*/ 369622 w 669933"/>
              <a:gd name="connsiteY2" fmla="*/ 189276 h 482221"/>
              <a:gd name="connsiteX3" fmla="*/ 496591 w 669933"/>
              <a:gd name="connsiteY3" fmla="*/ 264237 h 482221"/>
              <a:gd name="connsiteX4" fmla="*/ 628321 w 669933"/>
              <a:gd name="connsiteY4" fmla="*/ 327769 h 482221"/>
              <a:gd name="connsiteX5" fmla="*/ 664897 w 669933"/>
              <a:gd name="connsiteY5" fmla="*/ 368155 h 482221"/>
              <a:gd name="connsiteX6" fmla="*/ 664326 w 669933"/>
              <a:gd name="connsiteY6" fmla="*/ 428925 h 482221"/>
              <a:gd name="connsiteX7" fmla="*/ 623749 w 669933"/>
              <a:gd name="connsiteY7" fmla="*/ 475026 h 482221"/>
              <a:gd name="connsiteX8" fmla="*/ 564885 w 669933"/>
              <a:gd name="connsiteY8" fmla="*/ 476740 h 482221"/>
              <a:gd name="connsiteX9" fmla="*/ 419724 w 669933"/>
              <a:gd name="connsiteY9" fmla="*/ 406827 h 482221"/>
              <a:gd name="connsiteX10" fmla="*/ 281993 w 669933"/>
              <a:gd name="connsiteY10" fmla="*/ 325483 h 482221"/>
              <a:gd name="connsiteX11" fmla="*/ 151405 w 669933"/>
              <a:gd name="connsiteY11" fmla="*/ 236044 h 482221"/>
              <a:gd name="connsiteX12" fmla="*/ 26341 w 669933"/>
              <a:gd name="connsiteY12" fmla="*/ 141651 h 482221"/>
              <a:gd name="connsiteX13" fmla="*/ 19007 w 669933"/>
              <a:gd name="connsiteY13" fmla="*/ 32685 h 482221"/>
              <a:gd name="connsiteX14" fmla="*/ 125973 w 669933"/>
              <a:gd name="connsiteY14" fmla="*/ 14016 h 482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9933" h="482221">
                <a:moveTo>
                  <a:pt x="126068" y="14016"/>
                </a:moveTo>
                <a:cubicBezTo>
                  <a:pt x="165882" y="45067"/>
                  <a:pt x="205983" y="75452"/>
                  <a:pt x="246464" y="104884"/>
                </a:cubicBezTo>
                <a:cubicBezTo>
                  <a:pt x="287041" y="134126"/>
                  <a:pt x="327998" y="162320"/>
                  <a:pt x="369622" y="189276"/>
                </a:cubicBezTo>
                <a:cubicBezTo>
                  <a:pt x="411246" y="215755"/>
                  <a:pt x="453537" y="240901"/>
                  <a:pt x="496591" y="264237"/>
                </a:cubicBezTo>
                <a:cubicBezTo>
                  <a:pt x="539834" y="287193"/>
                  <a:pt x="583745" y="308624"/>
                  <a:pt x="628321" y="327769"/>
                </a:cubicBezTo>
                <a:cubicBezTo>
                  <a:pt x="645847" y="335103"/>
                  <a:pt x="658420" y="349677"/>
                  <a:pt x="664897" y="368155"/>
                </a:cubicBezTo>
                <a:cubicBezTo>
                  <a:pt x="671374" y="386348"/>
                  <a:pt x="672041" y="407875"/>
                  <a:pt x="664326" y="428925"/>
                </a:cubicBezTo>
                <a:cubicBezTo>
                  <a:pt x="656706" y="449880"/>
                  <a:pt x="641847" y="466263"/>
                  <a:pt x="623749" y="475026"/>
                </a:cubicBezTo>
                <a:cubicBezTo>
                  <a:pt x="605843" y="483598"/>
                  <a:pt x="584506" y="484932"/>
                  <a:pt x="564885" y="476740"/>
                </a:cubicBezTo>
                <a:cubicBezTo>
                  <a:pt x="515260" y="455500"/>
                  <a:pt x="466968" y="431878"/>
                  <a:pt x="419724" y="406827"/>
                </a:cubicBezTo>
                <a:cubicBezTo>
                  <a:pt x="372670" y="381300"/>
                  <a:pt x="326855" y="354058"/>
                  <a:pt x="281993" y="325483"/>
                </a:cubicBezTo>
                <a:cubicBezTo>
                  <a:pt x="237510" y="296623"/>
                  <a:pt x="194076" y="266809"/>
                  <a:pt x="151405" y="236044"/>
                </a:cubicBezTo>
                <a:cubicBezTo>
                  <a:pt x="109018" y="205183"/>
                  <a:pt x="67299" y="173655"/>
                  <a:pt x="26341" y="141651"/>
                </a:cubicBezTo>
                <a:cubicBezTo>
                  <a:pt x="-5758" y="116410"/>
                  <a:pt x="-8901" y="67642"/>
                  <a:pt x="19007" y="32685"/>
                </a:cubicBezTo>
                <a:cubicBezTo>
                  <a:pt x="46915" y="-2177"/>
                  <a:pt x="94826" y="-10368"/>
                  <a:pt x="125973" y="1401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4787D10-E315-7C46-C638-C35E13489F5D}"/>
              </a:ext>
            </a:extLst>
          </p:cNvPr>
          <p:cNvSpPr txBox="1"/>
          <p:nvPr/>
        </p:nvSpPr>
        <p:spPr>
          <a:xfrm>
            <a:off x="2700870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47CD9F9-19E3-66C1-6415-CCCF23C93CA9}"/>
              </a:ext>
            </a:extLst>
          </p:cNvPr>
          <p:cNvSpPr txBox="1"/>
          <p:nvPr/>
        </p:nvSpPr>
        <p:spPr>
          <a:xfrm>
            <a:off x="4154883" y="2388366"/>
            <a:ext cx="1224000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Connect your company &amp; teams to Catena-X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9BADE1-20F8-5641-39FD-F697336F20B3}"/>
              </a:ext>
            </a:extLst>
          </p:cNvPr>
          <p:cNvSpPr txBox="1"/>
          <p:nvPr/>
        </p:nvSpPr>
        <p:spPr>
          <a:xfrm>
            <a:off x="2700870" y="2388366"/>
            <a:ext cx="1224000" cy="28996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Inform yourself &amp;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ake the decisio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o become par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AE2D16B-33A0-01C3-916F-5C0064F1AFB0}"/>
              </a:ext>
            </a:extLst>
          </p:cNvPr>
          <p:cNvSpPr txBox="1"/>
          <p:nvPr/>
        </p:nvSpPr>
        <p:spPr>
          <a:xfrm>
            <a:off x="8516921" y="2388366"/>
            <a:ext cx="1548639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Utilize the full power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of collaboration i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your business teams 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7D99131-4B9B-F4BA-728D-4ECEDCF90845}"/>
              </a:ext>
            </a:extLst>
          </p:cNvPr>
          <p:cNvSpPr txBox="1"/>
          <p:nvPr/>
        </p:nvSpPr>
        <p:spPr>
          <a:xfrm>
            <a:off x="10275987" y="2031820"/>
            <a:ext cx="1606180" cy="345835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ADOPTERS 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7207F2C-C62A-587B-BB89-A880F75EC2C6}"/>
              </a:ext>
            </a:extLst>
          </p:cNvPr>
          <p:cNvSpPr txBox="1"/>
          <p:nvPr/>
        </p:nvSpPr>
        <p:spPr>
          <a:xfrm>
            <a:off x="5608896" y="2388366"/>
            <a:ext cx="1224000" cy="337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Boost data readiness and governance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385EC42F-9A3E-39B4-8ED2-CF911B1F08C4}"/>
              </a:ext>
            </a:extLst>
          </p:cNvPr>
          <p:cNvSpPr txBox="1"/>
          <p:nvPr/>
        </p:nvSpPr>
        <p:spPr>
          <a:xfrm>
            <a:off x="6961308" y="2388366"/>
            <a:ext cx="1339411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Adopt a data driven business process and create instant valu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3BB7DB8-64BC-54A8-0566-CC7047810BA1}"/>
              </a:ext>
            </a:extLst>
          </p:cNvPr>
          <p:cNvSpPr txBox="1"/>
          <p:nvPr/>
        </p:nvSpPr>
        <p:spPr>
          <a:xfrm>
            <a:off x="10402258" y="2395712"/>
            <a:ext cx="1259439" cy="263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I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n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various roles: Supplier/OEM/ Recycler</a:t>
            </a:r>
            <a:r>
              <a:rPr lang="en-US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…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F0FFFA7-9F6F-2473-3AF4-8BF3FF09B335}"/>
              </a:ext>
            </a:extLst>
          </p:cNvPr>
          <p:cNvSpPr txBox="1"/>
          <p:nvPr/>
        </p:nvSpPr>
        <p:spPr>
          <a:xfrm>
            <a:off x="4154883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D509EC8-F4EC-DCCA-0124-FD698F60BC1E}"/>
              </a:ext>
            </a:extLst>
          </p:cNvPr>
          <p:cNvSpPr txBox="1"/>
          <p:nvPr/>
        </p:nvSpPr>
        <p:spPr>
          <a:xfrm>
            <a:off x="5608896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3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68433EF-CEC7-3AF1-1D51-108876D2EF6B}"/>
              </a:ext>
            </a:extLst>
          </p:cNvPr>
          <p:cNvSpPr txBox="1"/>
          <p:nvPr/>
        </p:nvSpPr>
        <p:spPr>
          <a:xfrm>
            <a:off x="6961309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4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CDB4F442-74A3-C1CF-3C16-00BE0EA6B3E2}"/>
              </a:ext>
            </a:extLst>
          </p:cNvPr>
          <p:cNvSpPr txBox="1"/>
          <p:nvPr/>
        </p:nvSpPr>
        <p:spPr>
          <a:xfrm>
            <a:off x="8516922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8E3A34E9-E99D-7B1C-D0C0-906456A05DD2}"/>
              </a:ext>
            </a:extLst>
          </p:cNvPr>
          <p:cNvSpPr txBox="1"/>
          <p:nvPr/>
        </p:nvSpPr>
        <p:spPr>
          <a:xfrm>
            <a:off x="645093" y="2079603"/>
            <a:ext cx="1488507" cy="3538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THE </a:t>
            </a:r>
            <a:r>
              <a:rPr lang="de-DE" sz="1600" dirty="0">
                <a:solidFill>
                  <a:schemeClr val="bg1"/>
                </a:solidFill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C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ATENA-X CUSTOMER JOURNEY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B24AD97-9B2A-F739-E503-5F5068C45CA7}"/>
              </a:ext>
            </a:extLst>
          </p:cNvPr>
          <p:cNvSpPr txBox="1"/>
          <p:nvPr/>
        </p:nvSpPr>
        <p:spPr>
          <a:xfrm>
            <a:off x="8543228" y="3124773"/>
            <a:ext cx="1389577" cy="830030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Solution Providers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9C8BDCC5-A135-CC15-9AB8-5CD5E87E26C4}"/>
              </a:ext>
            </a:extLst>
          </p:cNvPr>
          <p:cNvSpPr txBox="1"/>
          <p:nvPr/>
        </p:nvSpPr>
        <p:spPr>
          <a:xfrm>
            <a:off x="3705631" y="3607597"/>
            <a:ext cx="4823167" cy="300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algn="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1100" b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</a:rPr>
              <a:t>Stimulate interoperable &amp; dedicated solution portfolios for partners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1FAC844-0AC8-9C74-C426-E6631D4A3977}"/>
              </a:ext>
            </a:extLst>
          </p:cNvPr>
          <p:cNvSpPr txBox="1"/>
          <p:nvPr/>
        </p:nvSpPr>
        <p:spPr>
          <a:xfrm>
            <a:off x="3715227" y="3103472"/>
            <a:ext cx="3143513" cy="6128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60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Marketplaces/Value Pools</a:t>
            </a:r>
            <a:endParaRPr kumimoji="0" lang="en-US" sz="180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AC4AF701-DC40-D12A-173B-91F0FB9DEA54}"/>
              </a:ext>
            </a:extLst>
          </p:cNvPr>
          <p:cNvCxnSpPr>
            <a:cxnSpLocks/>
          </p:cNvCxnSpPr>
          <p:nvPr/>
        </p:nvCxnSpPr>
        <p:spPr>
          <a:xfrm flipV="1">
            <a:off x="453574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7401977D-9A21-5181-FD5F-201ACE82685E}"/>
              </a:ext>
            </a:extLst>
          </p:cNvPr>
          <p:cNvCxnSpPr>
            <a:cxnSpLocks/>
          </p:cNvCxnSpPr>
          <p:nvPr/>
        </p:nvCxnSpPr>
        <p:spPr>
          <a:xfrm flipV="1">
            <a:off x="6897550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>
            <a:extLst>
              <a:ext uri="{FF2B5EF4-FFF2-40B4-BE49-F238E27FC236}">
                <a16:creationId xmlns:a16="http://schemas.microsoft.com/office/drawing/2014/main" id="{D440FEB6-A855-F20F-56BA-ED100B26F43B}"/>
              </a:ext>
            </a:extLst>
          </p:cNvPr>
          <p:cNvCxnSpPr>
            <a:cxnSpLocks/>
          </p:cNvCxnSpPr>
          <p:nvPr/>
        </p:nvCxnSpPr>
        <p:spPr>
          <a:xfrm flipV="1">
            <a:off x="847095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hteck 182">
            <a:extLst>
              <a:ext uri="{FF2B5EF4-FFF2-40B4-BE49-F238E27FC236}">
                <a16:creationId xmlns:a16="http://schemas.microsoft.com/office/drawing/2014/main" id="{7C2500FC-47E1-8B17-0840-5AAC0F6D843C}"/>
              </a:ext>
            </a:extLst>
          </p:cNvPr>
          <p:cNvSpPr/>
          <p:nvPr/>
        </p:nvSpPr>
        <p:spPr>
          <a:xfrm>
            <a:off x="8599537" y="2791338"/>
            <a:ext cx="1392574" cy="489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FB9B0F0-CEE8-EF74-44F4-49FE38ED3616}"/>
              </a:ext>
            </a:extLst>
          </p:cNvPr>
          <p:cNvSpPr txBox="1"/>
          <p:nvPr/>
        </p:nvSpPr>
        <p:spPr>
          <a:xfrm>
            <a:off x="-4452665" y="9285296"/>
            <a:ext cx="9670481" cy="10890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WITH KITS, THE CATENA-X CUSTOMER </a:t>
            </a:r>
            <a:b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</a:br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JOURNEY COMES TO LIFE</a:t>
            </a:r>
            <a:endParaRPr lang="de-DE" sz="4000" cap="all" dirty="0">
              <a:solidFill>
                <a:schemeClr val="bg1"/>
              </a:solidFill>
              <a:latin typeface="Manrope ExtraBold" pitchFamily="2" charset="0"/>
            </a:endParaRPr>
          </a:p>
        </p:txBody>
      </p:sp>
      <p:pic>
        <p:nvPicPr>
          <p:cNvPr id="14" name="Catena-X Logo">
            <a:extLst>
              <a:ext uri="{FF2B5EF4-FFF2-40B4-BE49-F238E27FC236}">
                <a16:creationId xmlns:a16="http://schemas.microsoft.com/office/drawing/2014/main" id="{EE4879A0-A13D-2A47-CA08-007A0C3A70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3343830" y="3321073"/>
            <a:ext cx="315643" cy="317050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3D4EA1B-D556-FC02-3006-6F293598B111}"/>
              </a:ext>
            </a:extLst>
          </p:cNvPr>
          <p:cNvCxnSpPr>
            <a:cxnSpLocks/>
          </p:cNvCxnSpPr>
          <p:nvPr/>
        </p:nvCxnSpPr>
        <p:spPr>
          <a:xfrm>
            <a:off x="2700870" y="2324661"/>
            <a:ext cx="71219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5D2F7AE-2CA6-EDDB-02F8-FBFA0537D864}"/>
              </a:ext>
            </a:extLst>
          </p:cNvPr>
          <p:cNvGrpSpPr/>
          <p:nvPr/>
        </p:nvGrpSpPr>
        <p:grpSpPr>
          <a:xfrm>
            <a:off x="9971730" y="2073508"/>
            <a:ext cx="290087" cy="216475"/>
            <a:chOff x="4123303" y="4218437"/>
            <a:chExt cx="1801247" cy="1344163"/>
          </a:xfrm>
        </p:grpSpPr>
        <p:sp>
          <p:nvSpPr>
            <p:cNvPr id="25" name="Gleichschenkliges Dreieck 1">
              <a:extLst>
                <a:ext uri="{FF2B5EF4-FFF2-40B4-BE49-F238E27FC236}">
                  <a16:creationId xmlns:a16="http://schemas.microsoft.com/office/drawing/2014/main" id="{FBC34918-7220-DAC0-CF84-066410BB1397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6" name="Gleichschenkliges Dreieck 1">
              <a:extLst>
                <a:ext uri="{FF2B5EF4-FFF2-40B4-BE49-F238E27FC236}">
                  <a16:creationId xmlns:a16="http://schemas.microsoft.com/office/drawing/2014/main" id="{17A941D8-8BB2-9B9D-092F-2E0481F09F93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7" name="Gleichschenkliges Dreieck 1">
              <a:extLst>
                <a:ext uri="{FF2B5EF4-FFF2-40B4-BE49-F238E27FC236}">
                  <a16:creationId xmlns:a16="http://schemas.microsoft.com/office/drawing/2014/main" id="{1845B6CC-9F57-8220-9C29-2F2534BCFEC1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2F916960-960A-7F2F-0330-9435873E19C9}"/>
              </a:ext>
            </a:extLst>
          </p:cNvPr>
          <p:cNvGrpSpPr/>
          <p:nvPr/>
        </p:nvGrpSpPr>
        <p:grpSpPr>
          <a:xfrm>
            <a:off x="2269116" y="2065971"/>
            <a:ext cx="290087" cy="216475"/>
            <a:chOff x="4123303" y="4218437"/>
            <a:chExt cx="1801247" cy="1344163"/>
          </a:xfrm>
        </p:grpSpPr>
        <p:sp>
          <p:nvSpPr>
            <p:cNvPr id="29" name="Gleichschenkliges Dreieck 1">
              <a:extLst>
                <a:ext uri="{FF2B5EF4-FFF2-40B4-BE49-F238E27FC236}">
                  <a16:creationId xmlns:a16="http://schemas.microsoft.com/office/drawing/2014/main" id="{164C32E3-FCEA-B4B4-EB1E-AD64976CFFF0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0" name="Gleichschenkliges Dreieck 1">
              <a:extLst>
                <a:ext uri="{FF2B5EF4-FFF2-40B4-BE49-F238E27FC236}">
                  <a16:creationId xmlns:a16="http://schemas.microsoft.com/office/drawing/2014/main" id="{13AFA03E-4ACD-8ECE-EBA1-27D92EDC9897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1" name="Gleichschenkliges Dreieck 1">
              <a:extLst>
                <a:ext uri="{FF2B5EF4-FFF2-40B4-BE49-F238E27FC236}">
                  <a16:creationId xmlns:a16="http://schemas.microsoft.com/office/drawing/2014/main" id="{C1FFB77B-3FA0-BE7D-CB13-060D77568C97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407D92D0-5B86-945C-AF90-CF159C43E718}"/>
              </a:ext>
            </a:extLst>
          </p:cNvPr>
          <p:cNvGrpSpPr/>
          <p:nvPr/>
        </p:nvGrpSpPr>
        <p:grpSpPr>
          <a:xfrm>
            <a:off x="8095590" y="3308541"/>
            <a:ext cx="468691" cy="468691"/>
            <a:chOff x="8095590" y="3308541"/>
            <a:chExt cx="468691" cy="468691"/>
          </a:xfrm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AD919709-E816-C4EA-71D2-91FB8B4AB806}"/>
                </a:ext>
              </a:extLst>
            </p:cNvPr>
            <p:cNvSpPr/>
            <p:nvPr/>
          </p:nvSpPr>
          <p:spPr>
            <a:xfrm>
              <a:off x="8095590" y="3308541"/>
              <a:ext cx="468691" cy="468691"/>
            </a:xfrm>
            <a:prstGeom prst="ellipse">
              <a:avLst/>
            </a:prstGeom>
            <a:solidFill>
              <a:srgbClr val="DD82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71" name="Grafik 70" descr="Warenkorb Silhouette">
              <a:extLst>
                <a:ext uri="{FF2B5EF4-FFF2-40B4-BE49-F238E27FC236}">
                  <a16:creationId xmlns:a16="http://schemas.microsoft.com/office/drawing/2014/main" id="{1412DA29-35B2-6D10-9B8A-90AD732A0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77347" y="3386137"/>
              <a:ext cx="311719" cy="311719"/>
            </a:xfrm>
            <a:prstGeom prst="rect">
              <a:avLst/>
            </a:prstGeom>
          </p:spPr>
        </p:pic>
      </p:grpSp>
      <p:sp>
        <p:nvSpPr>
          <p:cNvPr id="2" name="Titel 4">
            <a:extLst>
              <a:ext uri="{FF2B5EF4-FFF2-40B4-BE49-F238E27FC236}">
                <a16:creationId xmlns:a16="http://schemas.microsoft.com/office/drawing/2014/main" id="{2C243BEE-C5F1-A3ED-691E-EA14EA041F4D}"/>
              </a:ext>
            </a:extLst>
          </p:cNvPr>
          <p:cNvSpPr txBox="1">
            <a:spLocks/>
          </p:cNvSpPr>
          <p:nvPr/>
        </p:nvSpPr>
        <p:spPr>
          <a:xfrm>
            <a:off x="623887" y="720000"/>
            <a:ext cx="10908505" cy="549277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3600" dirty="0">
              <a:solidFill>
                <a:schemeClr val="bg1"/>
              </a:solidFill>
              <a:latin typeface="Manrope ExtraBold" pitchFamily="2" charset="0"/>
              <a:cs typeface="Calibri"/>
            </a:endParaRPr>
          </a:p>
        </p:txBody>
      </p:sp>
      <p:sp>
        <p:nvSpPr>
          <p:cNvPr id="4" name="Calendar for the year 2023 by month. The first day of the week is Monday.">
            <a:extLst>
              <a:ext uri="{FF2B5EF4-FFF2-40B4-BE49-F238E27FC236}">
                <a16:creationId xmlns:a16="http://schemas.microsoft.com/office/drawing/2014/main" id="{D2DD4BE3-411C-7FF7-8DE7-A88483B6F554}"/>
              </a:ext>
            </a:extLst>
          </p:cNvPr>
          <p:cNvSpPr txBox="1"/>
          <p:nvPr/>
        </p:nvSpPr>
        <p:spPr>
          <a:xfrm>
            <a:off x="5268018" y="6062173"/>
            <a:ext cx="911067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DIGITAL TWIN </a:t>
            </a:r>
            <a:b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</a:b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KIT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139D91-C5BF-BF5B-DFDA-171AD11E96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6336" y="5991388"/>
            <a:ext cx="443066" cy="379327"/>
          </a:xfrm>
          <a:prstGeom prst="rect">
            <a:avLst/>
          </a:prstGeom>
        </p:spPr>
      </p:pic>
      <p:sp>
        <p:nvSpPr>
          <p:cNvPr id="7" name="Calendar for the year 2023 by month. The first day of the week is Monday.">
            <a:extLst>
              <a:ext uri="{FF2B5EF4-FFF2-40B4-BE49-F238E27FC236}">
                <a16:creationId xmlns:a16="http://schemas.microsoft.com/office/drawing/2014/main" id="{55695279-70B5-787C-B0EE-B29A036C5B88}"/>
              </a:ext>
            </a:extLst>
          </p:cNvPr>
          <p:cNvSpPr txBox="1"/>
          <p:nvPr/>
        </p:nvSpPr>
        <p:spPr>
          <a:xfrm>
            <a:off x="3686873" y="6071417"/>
            <a:ext cx="731975" cy="159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 err="1">
                <a:solidFill>
                  <a:schemeClr val="bg1"/>
                </a:solidFill>
                <a:latin typeface="Manrope ExtraBold" pitchFamily="2" charset="0"/>
              </a:rPr>
              <a:t>Powered</a:t>
            </a: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 By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82AA4316-DF21-B5FF-336B-E4B3EDC34B1D}"/>
              </a:ext>
            </a:extLst>
          </p:cNvPr>
          <p:cNvSpPr/>
          <p:nvPr/>
        </p:nvSpPr>
        <p:spPr>
          <a:xfrm>
            <a:off x="3074463" y="435340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Vision/Mission</a:t>
            </a:r>
          </a:p>
        </p:txBody>
      </p:sp>
      <p:cxnSp>
        <p:nvCxnSpPr>
          <p:cNvPr id="55" name="Gerade Verbindung 33">
            <a:extLst>
              <a:ext uri="{FF2B5EF4-FFF2-40B4-BE49-F238E27FC236}">
                <a16:creationId xmlns:a16="http://schemas.microsoft.com/office/drawing/2014/main" id="{3D902947-696A-F37E-E4A3-7E450A4DD85D}"/>
              </a:ext>
            </a:extLst>
          </p:cNvPr>
          <p:cNvCxnSpPr>
            <a:cxnSpLocks/>
          </p:cNvCxnSpPr>
          <p:nvPr/>
        </p:nvCxnSpPr>
        <p:spPr>
          <a:xfrm flipH="1">
            <a:off x="3107428" y="4301455"/>
            <a:ext cx="28616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39FE30C8-3BC1-869C-4629-F733658B9B11}"/>
              </a:ext>
            </a:extLst>
          </p:cNvPr>
          <p:cNvSpPr/>
          <p:nvPr/>
        </p:nvSpPr>
        <p:spPr>
          <a:xfrm>
            <a:off x="3074463" y="471264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Business Value</a:t>
            </a:r>
          </a:p>
        </p:txBody>
      </p:sp>
      <p:sp>
        <p:nvSpPr>
          <p:cNvPr id="105" name="Rechteck: abgerundete Ecken 104">
            <a:extLst>
              <a:ext uri="{FF2B5EF4-FFF2-40B4-BE49-F238E27FC236}">
                <a16:creationId xmlns:a16="http://schemas.microsoft.com/office/drawing/2014/main" id="{027AA540-032A-BC6F-F919-348CDAC8CBCF}"/>
              </a:ext>
            </a:extLst>
          </p:cNvPr>
          <p:cNvSpPr/>
          <p:nvPr/>
        </p:nvSpPr>
        <p:spPr>
          <a:xfrm>
            <a:off x="3074463" y="507188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Architecture</a:t>
            </a:r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6C6B4A13-C61C-1870-DB69-11AF55635C6C}"/>
              </a:ext>
            </a:extLst>
          </p:cNvPr>
          <p:cNvSpPr/>
          <p:nvPr/>
        </p:nvSpPr>
        <p:spPr>
          <a:xfrm>
            <a:off x="3074463" y="5431127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Industry Core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On-Boarding Guide</a:t>
            </a:r>
          </a:p>
        </p:txBody>
      </p:sp>
      <p:sp>
        <p:nvSpPr>
          <p:cNvPr id="109" name="Rechteck: abgerundete Ecken 108">
            <a:extLst>
              <a:ext uri="{FF2B5EF4-FFF2-40B4-BE49-F238E27FC236}">
                <a16:creationId xmlns:a16="http://schemas.microsoft.com/office/drawing/2014/main" id="{57861D0B-6327-2601-24D0-A903CE80E6E6}"/>
              </a:ext>
            </a:extLst>
          </p:cNvPr>
          <p:cNvSpPr/>
          <p:nvPr/>
        </p:nvSpPr>
        <p:spPr>
          <a:xfrm>
            <a:off x="4571314" y="4344155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emantic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Models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„Part Instance“</a:t>
            </a:r>
          </a:p>
        </p:txBody>
      </p:sp>
      <p:sp>
        <p:nvSpPr>
          <p:cNvPr id="110" name="Rechteck: abgerundete Ecken 109">
            <a:extLst>
              <a:ext uri="{FF2B5EF4-FFF2-40B4-BE49-F238E27FC236}">
                <a16:creationId xmlns:a16="http://schemas.microsoft.com/office/drawing/2014/main" id="{1FB7438B-552C-6E17-AA44-9E111DC4E302}"/>
              </a:ext>
            </a:extLst>
          </p:cNvPr>
          <p:cNvSpPr/>
          <p:nvPr/>
        </p:nvSpPr>
        <p:spPr>
          <a:xfrm>
            <a:off x="4571314" y="4703395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emantic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Models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„Part Type“</a:t>
            </a:r>
          </a:p>
        </p:txBody>
      </p:sp>
      <p:cxnSp>
        <p:nvCxnSpPr>
          <p:cNvPr id="127" name="Gerade Verbindung 33">
            <a:extLst>
              <a:ext uri="{FF2B5EF4-FFF2-40B4-BE49-F238E27FC236}">
                <a16:creationId xmlns:a16="http://schemas.microsoft.com/office/drawing/2014/main" id="{73B38894-6892-1D64-BBDC-BC09353578A4}"/>
              </a:ext>
            </a:extLst>
          </p:cNvPr>
          <p:cNvCxnSpPr>
            <a:cxnSpLocks/>
          </p:cNvCxnSpPr>
          <p:nvPr/>
        </p:nvCxnSpPr>
        <p:spPr>
          <a:xfrm flipH="1">
            <a:off x="6191818" y="4301455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9" name="Rechteck: abgerundete Ecken 37">
            <a:extLst>
              <a:ext uri="{FF2B5EF4-FFF2-40B4-BE49-F238E27FC236}">
                <a16:creationId xmlns:a16="http://schemas.microsoft.com/office/drawing/2014/main" id="{218439F9-E381-670C-9587-A833D60E9470}"/>
              </a:ext>
            </a:extLst>
          </p:cNvPr>
          <p:cNvSpPr/>
          <p:nvPr/>
        </p:nvSpPr>
        <p:spPr>
          <a:xfrm>
            <a:off x="6169690" y="435340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Data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Provisioning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pecification</a:t>
            </a:r>
            <a:endParaRPr lang="de-DE" sz="1000" dirty="0">
              <a:solidFill>
                <a:schemeClr val="bg1"/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Gerade Verbindung 33">
            <a:extLst>
              <a:ext uri="{FF2B5EF4-FFF2-40B4-BE49-F238E27FC236}">
                <a16:creationId xmlns:a16="http://schemas.microsoft.com/office/drawing/2014/main" id="{A68E4075-C5A1-C18A-15B4-9033C76108BD}"/>
              </a:ext>
            </a:extLst>
          </p:cNvPr>
          <p:cNvCxnSpPr>
            <a:cxnSpLocks/>
          </p:cNvCxnSpPr>
          <p:nvPr/>
        </p:nvCxnSpPr>
        <p:spPr>
          <a:xfrm flipH="1">
            <a:off x="7787749" y="4292492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Rechteck: abgerundete Ecken 37">
            <a:extLst>
              <a:ext uri="{FF2B5EF4-FFF2-40B4-BE49-F238E27FC236}">
                <a16:creationId xmlns:a16="http://schemas.microsoft.com/office/drawing/2014/main" id="{B24E3A8B-076B-6FA5-D82E-8EBCE33FE5BA}"/>
              </a:ext>
            </a:extLst>
          </p:cNvPr>
          <p:cNvSpPr/>
          <p:nvPr/>
        </p:nvSpPr>
        <p:spPr>
          <a:xfrm>
            <a:off x="7773128" y="4338072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imple Data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Exchanger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App</a:t>
            </a:r>
          </a:p>
        </p:txBody>
      </p:sp>
      <p:pic>
        <p:nvPicPr>
          <p:cNvPr id="2051" name="Grafik 2">
            <a:extLst>
              <a:ext uri="{FF2B5EF4-FFF2-40B4-BE49-F238E27FC236}">
                <a16:creationId xmlns:a16="http://schemas.microsoft.com/office/drawing/2014/main" id="{290016A9-99C7-C5F5-5552-2F138EAA0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95" y="4071817"/>
            <a:ext cx="2042950" cy="247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05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8">
            <a:extLst>
              <a:ext uri="{FF2B5EF4-FFF2-40B4-BE49-F238E27FC236}">
                <a16:creationId xmlns:a16="http://schemas.microsoft.com/office/drawing/2014/main" id="{21398915-D71A-8A92-3B34-F104EC0975B9}"/>
              </a:ext>
            </a:extLst>
          </p:cNvPr>
          <p:cNvSpPr/>
          <p:nvPr/>
        </p:nvSpPr>
        <p:spPr>
          <a:xfrm>
            <a:off x="623887" y="1682594"/>
            <a:ext cx="2920521" cy="4558866"/>
          </a:xfrm>
          <a:prstGeom prst="rect">
            <a:avLst/>
          </a:prstGeom>
          <a:solidFill>
            <a:schemeClr val="bg1">
              <a:alpha val="15000"/>
            </a:schemeClr>
          </a:solidFill>
          <a:ln w="28575"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54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Type Lev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Part number, material number,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catalog parts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91A8AC14-2146-8820-CEDD-DB37D4726BC7}"/>
              </a:ext>
            </a:extLst>
          </p:cNvPr>
          <p:cNvSpPr/>
          <p:nvPr/>
        </p:nvSpPr>
        <p:spPr>
          <a:xfrm>
            <a:off x="8679110" y="1705460"/>
            <a:ext cx="2880000" cy="4536000"/>
          </a:xfrm>
          <a:prstGeom prst="rect">
            <a:avLst/>
          </a:prstGeom>
          <a:solidFill>
            <a:schemeClr val="bg1">
              <a:alpha val="15000"/>
            </a:schemeClr>
          </a:solidFill>
          <a:ln w="28575"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54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Instance Lev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Vehicle, Serialized Parts, Batches,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JIS, EC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anose="020B0604020202020204" charset="0"/>
              <a:ea typeface="+mn-ea"/>
              <a:cs typeface="+mn-cs"/>
            </a:endParaRPr>
          </a:p>
        </p:txBody>
      </p:sp>
      <p:sp>
        <p:nvSpPr>
          <p:cNvPr id="1145" name="Rechteck 243">
            <a:extLst>
              <a:ext uri="{FF2B5EF4-FFF2-40B4-BE49-F238E27FC236}">
                <a16:creationId xmlns:a16="http://schemas.microsoft.com/office/drawing/2014/main" id="{CEE6E550-4F3A-51E1-8CC8-4B8D70617712}"/>
              </a:ext>
            </a:extLst>
          </p:cNvPr>
          <p:cNvSpPr>
            <a:spLocks/>
          </p:cNvSpPr>
          <p:nvPr/>
        </p:nvSpPr>
        <p:spPr>
          <a:xfrm rot="10800000">
            <a:off x="8913889" y="4960609"/>
            <a:ext cx="2448000" cy="1060247"/>
          </a:xfrm>
          <a:prstGeom prst="round2SameRect">
            <a:avLst>
              <a:gd name="adj1" fmla="val 2984"/>
              <a:gd name="adj2" fmla="val 0"/>
            </a:avLst>
          </a:prstGeom>
          <a:gradFill>
            <a:gsLst>
              <a:gs pos="80000">
                <a:srgbClr val="B4CC2D"/>
              </a:gs>
              <a:gs pos="100000">
                <a:srgbClr val="B4CC2D">
                  <a:lumMod val="75000"/>
                </a:srgbClr>
              </a:gs>
            </a:gsLst>
            <a:lin ang="13800000" scaled="0"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143" name="Rechteck 243">
            <a:extLst>
              <a:ext uri="{FF2B5EF4-FFF2-40B4-BE49-F238E27FC236}">
                <a16:creationId xmlns:a16="http://schemas.microsoft.com/office/drawing/2014/main" id="{76C2DB69-6DC3-E4C3-B53B-8B702693F3D8}"/>
              </a:ext>
            </a:extLst>
          </p:cNvPr>
          <p:cNvSpPr>
            <a:spLocks/>
          </p:cNvSpPr>
          <p:nvPr/>
        </p:nvSpPr>
        <p:spPr>
          <a:xfrm rot="10800000">
            <a:off x="860291" y="4963792"/>
            <a:ext cx="2448000" cy="1060247"/>
          </a:xfrm>
          <a:prstGeom prst="round2SameRect">
            <a:avLst>
              <a:gd name="adj1" fmla="val 5196"/>
              <a:gd name="adj2" fmla="val 0"/>
            </a:avLst>
          </a:prstGeom>
          <a:gradFill>
            <a:gsLst>
              <a:gs pos="80000">
                <a:srgbClr val="B4CC2D"/>
              </a:gs>
              <a:gs pos="100000">
                <a:srgbClr val="B4CC2D">
                  <a:lumMod val="75000"/>
                </a:srgbClr>
              </a:gs>
            </a:gsLst>
            <a:lin ang="13800000" scaled="0"/>
          </a:gra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C2D654-94BE-1BB3-22DD-DA99D986AC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C2D654-94BE-1BB3-22DD-DA99D986A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44FADF95-E688-8D74-E723-BD06B33494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62" y="3742203"/>
            <a:ext cx="360000" cy="360000"/>
          </a:xfrm>
          <a:prstGeom prst="rect">
            <a:avLst/>
          </a:prstGeom>
        </p:spPr>
      </p:pic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41A693BE-FB01-2B75-05DA-D92277DAD28F}"/>
              </a:ext>
            </a:extLst>
          </p:cNvPr>
          <p:cNvCxnSpPr>
            <a:cxnSpLocks/>
            <a:stCxn id="25" idx="6"/>
          </p:cNvCxnSpPr>
          <p:nvPr/>
        </p:nvCxnSpPr>
        <p:spPr>
          <a:xfrm flipV="1">
            <a:off x="7543167" y="4086194"/>
            <a:ext cx="1135943" cy="1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9311C38A-3D94-15F4-B3C0-1505D654AEDA}"/>
              </a:ext>
            </a:extLst>
          </p:cNvPr>
          <p:cNvCxnSpPr>
            <a:cxnSpLocks/>
            <a:stCxn id="25" idx="2"/>
          </p:cNvCxnSpPr>
          <p:nvPr/>
        </p:nvCxnSpPr>
        <p:spPr>
          <a:xfrm rot="10800000">
            <a:off x="3544409" y="4086195"/>
            <a:ext cx="1118759" cy="1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FD91FD21-0544-1EEF-BAC9-3C236A88FA43}"/>
              </a:ext>
            </a:extLst>
          </p:cNvPr>
          <p:cNvSpPr txBox="1"/>
          <p:nvPr/>
        </p:nvSpPr>
        <p:spPr>
          <a:xfrm>
            <a:off x="3868146" y="1682594"/>
            <a:ext cx="4487228" cy="79173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72000" rIns="0" bIns="7200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Parts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sub-part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build our relationship and keeps the automotive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industry together.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949C78C-37B5-373D-BD5C-01AE7E0FF8D7}"/>
              </a:ext>
            </a:extLst>
          </p:cNvPr>
          <p:cNvSpPr/>
          <p:nvPr/>
        </p:nvSpPr>
        <p:spPr>
          <a:xfrm>
            <a:off x="4663167" y="2646195"/>
            <a:ext cx="2880000" cy="2880000"/>
          </a:xfrm>
          <a:prstGeom prst="ellipse">
            <a:avLst/>
          </a:prstGeom>
          <a:noFill/>
          <a:ln w="25400">
            <a:solidFill>
              <a:schemeClr val="accent1"/>
            </a:solidFill>
            <a:prstDash val="lgDash"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AE6A12BC-6663-A17E-721A-6261A4624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6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8272469-97AF-290C-7F0D-F80C4DA60E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9018" y="4298164"/>
            <a:ext cx="360000" cy="360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C644944C-6418-542A-96FC-FD3AD97D014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375" y="4853098"/>
            <a:ext cx="360000" cy="360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57C8313-893A-292F-4E31-1E16F96B764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6381" y="4495046"/>
            <a:ext cx="360000" cy="3600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8AF04629-0514-FAA9-FCF7-5F4A96519AC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16106" y="3743641"/>
            <a:ext cx="360000" cy="3600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CBA332A3-078F-D4A3-10F2-5CF08C05E1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110" y="2773490"/>
            <a:ext cx="593778" cy="593778"/>
          </a:xfrm>
          <a:prstGeom prst="rect">
            <a:avLst/>
          </a:prstGeom>
        </p:spPr>
      </p:pic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68010C08-9DB1-3F71-03AB-D905AAEDE787}"/>
              </a:ext>
            </a:extLst>
          </p:cNvPr>
          <p:cNvCxnSpPr>
            <a:stCxn id="57" idx="2"/>
            <a:endCxn id="51" idx="0"/>
          </p:cNvCxnSpPr>
          <p:nvPr/>
        </p:nvCxnSpPr>
        <p:spPr>
          <a:xfrm rot="5400000">
            <a:off x="5507867" y="3155508"/>
            <a:ext cx="376373" cy="799893"/>
          </a:xfrm>
          <a:prstGeom prst="bentConnector3">
            <a:avLst/>
          </a:prstGeom>
          <a:ln w="1270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Verbinder: gewinkelt 1023">
            <a:extLst>
              <a:ext uri="{FF2B5EF4-FFF2-40B4-BE49-F238E27FC236}">
                <a16:creationId xmlns:a16="http://schemas.microsoft.com/office/drawing/2014/main" id="{A0C7F38F-80E9-2CD8-2262-E874DA694A45}"/>
              </a:ext>
            </a:extLst>
          </p:cNvPr>
          <p:cNvCxnSpPr>
            <a:stCxn id="57" idx="2"/>
            <a:endCxn id="36" idx="0"/>
          </p:cNvCxnSpPr>
          <p:nvPr/>
        </p:nvCxnSpPr>
        <p:spPr>
          <a:xfrm rot="16200000" flipH="1">
            <a:off x="5466272" y="3996995"/>
            <a:ext cx="1485830" cy="226376"/>
          </a:xfrm>
          <a:prstGeom prst="bentConnector3">
            <a:avLst/>
          </a:prstGeom>
          <a:ln w="1270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8" name="Verbinder: gewinkelt 1027">
            <a:extLst>
              <a:ext uri="{FF2B5EF4-FFF2-40B4-BE49-F238E27FC236}">
                <a16:creationId xmlns:a16="http://schemas.microsoft.com/office/drawing/2014/main" id="{15DBF8A4-F62D-FE5F-859E-E3F827BFD358}"/>
              </a:ext>
            </a:extLst>
          </p:cNvPr>
          <p:cNvCxnSpPr>
            <a:cxnSpLocks/>
            <a:stCxn id="9" idx="2"/>
            <a:endCxn id="40" idx="0"/>
          </p:cNvCxnSpPr>
          <p:nvPr/>
        </p:nvCxnSpPr>
        <p:spPr>
          <a:xfrm rot="16200000" flipH="1">
            <a:off x="6683450" y="4222114"/>
            <a:ext cx="392843" cy="15301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0" name="Verbinder: gewinkelt 1029">
            <a:extLst>
              <a:ext uri="{FF2B5EF4-FFF2-40B4-BE49-F238E27FC236}">
                <a16:creationId xmlns:a16="http://schemas.microsoft.com/office/drawing/2014/main" id="{AD784E97-C671-A88A-3EAE-58F7674DF3FC}"/>
              </a:ext>
            </a:extLst>
          </p:cNvPr>
          <p:cNvCxnSpPr>
            <a:cxnSpLocks/>
            <a:stCxn id="57" idx="2"/>
            <a:endCxn id="34" idx="0"/>
          </p:cNvCxnSpPr>
          <p:nvPr/>
        </p:nvCxnSpPr>
        <p:spPr>
          <a:xfrm rot="5400000">
            <a:off x="5527061" y="3729226"/>
            <a:ext cx="930896" cy="206981"/>
          </a:xfrm>
          <a:prstGeom prst="bentConnector3">
            <a:avLst/>
          </a:prstGeom>
          <a:ln w="1270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Verbinder: gewinkelt 1034">
            <a:extLst>
              <a:ext uri="{FF2B5EF4-FFF2-40B4-BE49-F238E27FC236}">
                <a16:creationId xmlns:a16="http://schemas.microsoft.com/office/drawing/2014/main" id="{AAFAA9CD-6374-5D34-9067-B5A49705AAD5}"/>
              </a:ext>
            </a:extLst>
          </p:cNvPr>
          <p:cNvCxnSpPr>
            <a:stCxn id="57" idx="2"/>
            <a:endCxn id="9" idx="0"/>
          </p:cNvCxnSpPr>
          <p:nvPr/>
        </p:nvCxnSpPr>
        <p:spPr>
          <a:xfrm rot="16200000" flipH="1">
            <a:off x="6262213" y="3201053"/>
            <a:ext cx="374935" cy="707363"/>
          </a:xfrm>
          <a:prstGeom prst="bentConnector3">
            <a:avLst/>
          </a:prstGeom>
          <a:ln w="1270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4" name="Grafik 1073">
            <a:extLst>
              <a:ext uri="{FF2B5EF4-FFF2-40B4-BE49-F238E27FC236}">
                <a16:creationId xmlns:a16="http://schemas.microsoft.com/office/drawing/2014/main" id="{F2263048-B496-DF6B-50B8-AF7A82D685D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62" y="4495046"/>
            <a:ext cx="360000" cy="360000"/>
          </a:xfrm>
          <a:prstGeom prst="rect">
            <a:avLst/>
          </a:prstGeom>
        </p:spPr>
      </p:pic>
      <p:cxnSp>
        <p:nvCxnSpPr>
          <p:cNvPr id="1090" name="Verbinder: gewinkelt 1089">
            <a:extLst>
              <a:ext uri="{FF2B5EF4-FFF2-40B4-BE49-F238E27FC236}">
                <a16:creationId xmlns:a16="http://schemas.microsoft.com/office/drawing/2014/main" id="{D8FE8050-82C2-E809-39D5-436B58958809}"/>
              </a:ext>
            </a:extLst>
          </p:cNvPr>
          <p:cNvCxnSpPr>
            <a:endCxn id="1074" idx="0"/>
          </p:cNvCxnSpPr>
          <p:nvPr/>
        </p:nvCxnSpPr>
        <p:spPr>
          <a:xfrm rot="5400000">
            <a:off x="5106695" y="4309454"/>
            <a:ext cx="370860" cy="325"/>
          </a:xfrm>
          <a:prstGeom prst="bentConnector3">
            <a:avLst/>
          </a:prstGeom>
          <a:ln w="12700">
            <a:solidFill>
              <a:schemeClr val="accent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4" name="Freihandform 299">
            <a:extLst>
              <a:ext uri="{FF2B5EF4-FFF2-40B4-BE49-F238E27FC236}">
                <a16:creationId xmlns:a16="http://schemas.microsoft.com/office/drawing/2014/main" id="{C4A59A61-B7E0-C3B0-FDC4-5E40E85B1971}"/>
              </a:ext>
            </a:extLst>
          </p:cNvPr>
          <p:cNvSpPr>
            <a:spLocks noChangeAspect="1"/>
          </p:cNvSpPr>
          <p:nvPr/>
        </p:nvSpPr>
        <p:spPr>
          <a:xfrm>
            <a:off x="860291" y="4491378"/>
            <a:ext cx="1028561" cy="472415"/>
          </a:xfrm>
          <a:custGeom>
            <a:avLst/>
            <a:gdLst>
              <a:gd name="connsiteX0" fmla="*/ 119249 w 1080000"/>
              <a:gd name="connsiteY0" fmla="*/ 280634 h 496040"/>
              <a:gd name="connsiteX1" fmla="*/ 119249 w 1080000"/>
              <a:gd name="connsiteY1" fmla="*/ 443849 h 496040"/>
              <a:gd name="connsiteX2" fmla="*/ 523695 w 1080000"/>
              <a:gd name="connsiteY2" fmla="*/ 443849 h 496040"/>
              <a:gd name="connsiteX3" fmla="*/ 523695 w 1080000"/>
              <a:gd name="connsiteY3" fmla="*/ 280634 h 496040"/>
              <a:gd name="connsiteX4" fmla="*/ 556304 w 1080000"/>
              <a:gd name="connsiteY4" fmla="*/ 275229 h 496040"/>
              <a:gd name="connsiteX5" fmla="*/ 556304 w 1080000"/>
              <a:gd name="connsiteY5" fmla="*/ 438444 h 496040"/>
              <a:gd name="connsiteX6" fmla="*/ 960750 w 1080000"/>
              <a:gd name="connsiteY6" fmla="*/ 438444 h 496040"/>
              <a:gd name="connsiteX7" fmla="*/ 960750 w 1080000"/>
              <a:gd name="connsiteY7" fmla="*/ 275229 h 496040"/>
              <a:gd name="connsiteX8" fmla="*/ 0 w 1080000"/>
              <a:gd name="connsiteY8" fmla="*/ 0 h 496040"/>
              <a:gd name="connsiteX9" fmla="*/ 340100 w 1080000"/>
              <a:gd name="connsiteY9" fmla="*/ 136040 h 496040"/>
              <a:gd name="connsiteX10" fmla="*/ 360000 w 1080000"/>
              <a:gd name="connsiteY10" fmla="*/ 136040 h 496040"/>
              <a:gd name="connsiteX11" fmla="*/ 360000 w 1080000"/>
              <a:gd name="connsiteY11" fmla="*/ 0 h 496040"/>
              <a:gd name="connsiteX12" fmla="*/ 700100 w 1080000"/>
              <a:gd name="connsiteY12" fmla="*/ 136040 h 496040"/>
              <a:gd name="connsiteX13" fmla="*/ 720000 w 1080000"/>
              <a:gd name="connsiteY13" fmla="*/ 136040 h 496040"/>
              <a:gd name="connsiteX14" fmla="*/ 720000 w 1080000"/>
              <a:gd name="connsiteY14" fmla="*/ 0 h 496040"/>
              <a:gd name="connsiteX15" fmla="*/ 1060100 w 1080000"/>
              <a:gd name="connsiteY15" fmla="*/ 136040 h 496040"/>
              <a:gd name="connsiteX16" fmla="*/ 1080000 w 1080000"/>
              <a:gd name="connsiteY16" fmla="*/ 136040 h 496040"/>
              <a:gd name="connsiteX17" fmla="*/ 1080000 w 1080000"/>
              <a:gd name="connsiteY17" fmla="*/ 144000 h 496040"/>
              <a:gd name="connsiteX18" fmla="*/ 1080000 w 1080000"/>
              <a:gd name="connsiteY18" fmla="*/ 496040 h 496040"/>
              <a:gd name="connsiteX19" fmla="*/ 0 w 1080000"/>
              <a:gd name="connsiteY19" fmla="*/ 496040 h 496040"/>
              <a:gd name="connsiteX20" fmla="*/ 0 w 1080000"/>
              <a:gd name="connsiteY20" fmla="*/ 144000 h 496040"/>
              <a:gd name="connsiteX21" fmla="*/ 0 w 1080000"/>
              <a:gd name="connsiteY21" fmla="*/ 136040 h 49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80000" h="496040">
                <a:moveTo>
                  <a:pt x="119249" y="280634"/>
                </a:moveTo>
                <a:lnTo>
                  <a:pt x="119249" y="443849"/>
                </a:lnTo>
                <a:lnTo>
                  <a:pt x="523695" y="443849"/>
                </a:lnTo>
                <a:lnTo>
                  <a:pt x="523695" y="280634"/>
                </a:lnTo>
                <a:close/>
                <a:moveTo>
                  <a:pt x="556304" y="275229"/>
                </a:moveTo>
                <a:lnTo>
                  <a:pt x="556304" y="438444"/>
                </a:lnTo>
                <a:lnTo>
                  <a:pt x="960750" y="438444"/>
                </a:lnTo>
                <a:lnTo>
                  <a:pt x="960750" y="275229"/>
                </a:lnTo>
                <a:close/>
                <a:moveTo>
                  <a:pt x="0" y="0"/>
                </a:moveTo>
                <a:lnTo>
                  <a:pt x="340100" y="136040"/>
                </a:lnTo>
                <a:lnTo>
                  <a:pt x="360000" y="136040"/>
                </a:lnTo>
                <a:lnTo>
                  <a:pt x="360000" y="0"/>
                </a:lnTo>
                <a:lnTo>
                  <a:pt x="700100" y="136040"/>
                </a:lnTo>
                <a:lnTo>
                  <a:pt x="720000" y="136040"/>
                </a:lnTo>
                <a:lnTo>
                  <a:pt x="720000" y="0"/>
                </a:lnTo>
                <a:lnTo>
                  <a:pt x="1060100" y="136040"/>
                </a:lnTo>
                <a:lnTo>
                  <a:pt x="1080000" y="136040"/>
                </a:lnTo>
                <a:lnTo>
                  <a:pt x="1080000" y="144000"/>
                </a:lnTo>
                <a:lnTo>
                  <a:pt x="1080000" y="496040"/>
                </a:lnTo>
                <a:lnTo>
                  <a:pt x="0" y="496040"/>
                </a:lnTo>
                <a:lnTo>
                  <a:pt x="0" y="144000"/>
                </a:lnTo>
                <a:lnTo>
                  <a:pt x="0" y="136040"/>
                </a:lnTo>
                <a:close/>
              </a:path>
            </a:pathLst>
          </a:custGeom>
          <a:solidFill>
            <a:srgbClr val="B4CC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46" name="Freihandform 299">
            <a:extLst>
              <a:ext uri="{FF2B5EF4-FFF2-40B4-BE49-F238E27FC236}">
                <a16:creationId xmlns:a16="http://schemas.microsoft.com/office/drawing/2014/main" id="{64871CCA-16B5-6330-FB41-F6F427FF49E2}"/>
              </a:ext>
            </a:extLst>
          </p:cNvPr>
          <p:cNvSpPr>
            <a:spLocks noChangeAspect="1"/>
          </p:cNvSpPr>
          <p:nvPr/>
        </p:nvSpPr>
        <p:spPr>
          <a:xfrm>
            <a:off x="8913889" y="4488194"/>
            <a:ext cx="1028561" cy="472415"/>
          </a:xfrm>
          <a:custGeom>
            <a:avLst/>
            <a:gdLst>
              <a:gd name="connsiteX0" fmla="*/ 119249 w 1080000"/>
              <a:gd name="connsiteY0" fmla="*/ 280634 h 496040"/>
              <a:gd name="connsiteX1" fmla="*/ 119249 w 1080000"/>
              <a:gd name="connsiteY1" fmla="*/ 443849 h 496040"/>
              <a:gd name="connsiteX2" fmla="*/ 523695 w 1080000"/>
              <a:gd name="connsiteY2" fmla="*/ 443849 h 496040"/>
              <a:gd name="connsiteX3" fmla="*/ 523695 w 1080000"/>
              <a:gd name="connsiteY3" fmla="*/ 280634 h 496040"/>
              <a:gd name="connsiteX4" fmla="*/ 556304 w 1080000"/>
              <a:gd name="connsiteY4" fmla="*/ 275229 h 496040"/>
              <a:gd name="connsiteX5" fmla="*/ 556304 w 1080000"/>
              <a:gd name="connsiteY5" fmla="*/ 438444 h 496040"/>
              <a:gd name="connsiteX6" fmla="*/ 960750 w 1080000"/>
              <a:gd name="connsiteY6" fmla="*/ 438444 h 496040"/>
              <a:gd name="connsiteX7" fmla="*/ 960750 w 1080000"/>
              <a:gd name="connsiteY7" fmla="*/ 275229 h 496040"/>
              <a:gd name="connsiteX8" fmla="*/ 0 w 1080000"/>
              <a:gd name="connsiteY8" fmla="*/ 0 h 496040"/>
              <a:gd name="connsiteX9" fmla="*/ 340100 w 1080000"/>
              <a:gd name="connsiteY9" fmla="*/ 136040 h 496040"/>
              <a:gd name="connsiteX10" fmla="*/ 360000 w 1080000"/>
              <a:gd name="connsiteY10" fmla="*/ 136040 h 496040"/>
              <a:gd name="connsiteX11" fmla="*/ 360000 w 1080000"/>
              <a:gd name="connsiteY11" fmla="*/ 0 h 496040"/>
              <a:gd name="connsiteX12" fmla="*/ 700100 w 1080000"/>
              <a:gd name="connsiteY12" fmla="*/ 136040 h 496040"/>
              <a:gd name="connsiteX13" fmla="*/ 720000 w 1080000"/>
              <a:gd name="connsiteY13" fmla="*/ 136040 h 496040"/>
              <a:gd name="connsiteX14" fmla="*/ 720000 w 1080000"/>
              <a:gd name="connsiteY14" fmla="*/ 0 h 496040"/>
              <a:gd name="connsiteX15" fmla="*/ 1060100 w 1080000"/>
              <a:gd name="connsiteY15" fmla="*/ 136040 h 496040"/>
              <a:gd name="connsiteX16" fmla="*/ 1080000 w 1080000"/>
              <a:gd name="connsiteY16" fmla="*/ 136040 h 496040"/>
              <a:gd name="connsiteX17" fmla="*/ 1080000 w 1080000"/>
              <a:gd name="connsiteY17" fmla="*/ 144000 h 496040"/>
              <a:gd name="connsiteX18" fmla="*/ 1080000 w 1080000"/>
              <a:gd name="connsiteY18" fmla="*/ 496040 h 496040"/>
              <a:gd name="connsiteX19" fmla="*/ 0 w 1080000"/>
              <a:gd name="connsiteY19" fmla="*/ 496040 h 496040"/>
              <a:gd name="connsiteX20" fmla="*/ 0 w 1080000"/>
              <a:gd name="connsiteY20" fmla="*/ 144000 h 496040"/>
              <a:gd name="connsiteX21" fmla="*/ 0 w 1080000"/>
              <a:gd name="connsiteY21" fmla="*/ 136040 h 49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80000" h="496040">
                <a:moveTo>
                  <a:pt x="119249" y="280634"/>
                </a:moveTo>
                <a:lnTo>
                  <a:pt x="119249" y="443849"/>
                </a:lnTo>
                <a:lnTo>
                  <a:pt x="523695" y="443849"/>
                </a:lnTo>
                <a:lnTo>
                  <a:pt x="523695" y="280634"/>
                </a:lnTo>
                <a:close/>
                <a:moveTo>
                  <a:pt x="556304" y="275229"/>
                </a:moveTo>
                <a:lnTo>
                  <a:pt x="556304" y="438444"/>
                </a:lnTo>
                <a:lnTo>
                  <a:pt x="960750" y="438444"/>
                </a:lnTo>
                <a:lnTo>
                  <a:pt x="960750" y="275229"/>
                </a:lnTo>
                <a:close/>
                <a:moveTo>
                  <a:pt x="0" y="0"/>
                </a:moveTo>
                <a:lnTo>
                  <a:pt x="340100" y="136040"/>
                </a:lnTo>
                <a:lnTo>
                  <a:pt x="360000" y="136040"/>
                </a:lnTo>
                <a:lnTo>
                  <a:pt x="360000" y="0"/>
                </a:lnTo>
                <a:lnTo>
                  <a:pt x="700100" y="136040"/>
                </a:lnTo>
                <a:lnTo>
                  <a:pt x="720000" y="136040"/>
                </a:lnTo>
                <a:lnTo>
                  <a:pt x="720000" y="0"/>
                </a:lnTo>
                <a:lnTo>
                  <a:pt x="1060100" y="136040"/>
                </a:lnTo>
                <a:lnTo>
                  <a:pt x="1080000" y="136040"/>
                </a:lnTo>
                <a:lnTo>
                  <a:pt x="1080000" y="144000"/>
                </a:lnTo>
                <a:lnTo>
                  <a:pt x="1080000" y="496040"/>
                </a:lnTo>
                <a:lnTo>
                  <a:pt x="0" y="496040"/>
                </a:lnTo>
                <a:lnTo>
                  <a:pt x="0" y="144000"/>
                </a:lnTo>
                <a:lnTo>
                  <a:pt x="0" y="136040"/>
                </a:lnTo>
                <a:close/>
              </a:path>
            </a:pathLst>
          </a:custGeom>
          <a:solidFill>
            <a:srgbClr val="B4CC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47" name="Rechteck: abgerundete Ecken 248">
            <a:extLst>
              <a:ext uri="{FF2B5EF4-FFF2-40B4-BE49-F238E27FC236}">
                <a16:creationId xmlns:a16="http://schemas.microsoft.com/office/drawing/2014/main" id="{DE1E20B1-301B-74B8-9552-70B7806E1325}"/>
              </a:ext>
            </a:extLst>
          </p:cNvPr>
          <p:cNvSpPr/>
          <p:nvPr/>
        </p:nvSpPr>
        <p:spPr>
          <a:xfrm>
            <a:off x="860291" y="3120538"/>
            <a:ext cx="2448001" cy="930274"/>
          </a:xfrm>
          <a:prstGeom prst="roundRect">
            <a:avLst>
              <a:gd name="adj" fmla="val 7727"/>
            </a:avLst>
          </a:prstGeom>
          <a:solidFill>
            <a:schemeClr val="bg1"/>
          </a:solidFill>
          <a:ln w="28575" cap="flat" cmpd="sng" algn="ctr">
            <a:solidFill>
              <a:srgbClr val="B4CC2D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148" name="Gruppieren 1147">
            <a:extLst>
              <a:ext uri="{FF2B5EF4-FFF2-40B4-BE49-F238E27FC236}">
                <a16:creationId xmlns:a16="http://schemas.microsoft.com/office/drawing/2014/main" id="{4BF1B1F2-D59B-32B7-68CB-458A569161F5}"/>
              </a:ext>
            </a:extLst>
          </p:cNvPr>
          <p:cNvGrpSpPr/>
          <p:nvPr/>
        </p:nvGrpSpPr>
        <p:grpSpPr>
          <a:xfrm>
            <a:off x="1318691" y="3013979"/>
            <a:ext cx="1512000" cy="198368"/>
            <a:chOff x="1344000" y="2349896"/>
            <a:chExt cx="1512000" cy="216000"/>
          </a:xfrm>
        </p:grpSpPr>
        <p:sp>
          <p:nvSpPr>
            <p:cNvPr id="1149" name="Textfeld 249">
              <a:extLst>
                <a:ext uri="{FF2B5EF4-FFF2-40B4-BE49-F238E27FC236}">
                  <a16:creationId xmlns:a16="http://schemas.microsoft.com/office/drawing/2014/main" id="{19208C42-5E7B-04E7-7E37-8BDA12B6B1B6}"/>
                </a:ext>
              </a:extLst>
            </p:cNvPr>
            <p:cNvSpPr txBox="1"/>
            <p:nvPr/>
          </p:nvSpPr>
          <p:spPr>
            <a:xfrm>
              <a:off x="1344000" y="2349896"/>
              <a:ext cx="1512000" cy="216000"/>
            </a:xfrm>
            <a:prstGeom prst="roundRect">
              <a:avLst>
                <a:gd name="adj" fmla="val 50000"/>
              </a:avLst>
            </a:prstGeom>
            <a:solidFill>
              <a:srgbClr val="B4CC2D"/>
            </a:solidFill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400" cap="none" spc="8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IGITAL TWIN</a:t>
              </a:r>
            </a:p>
          </p:txBody>
        </p:sp>
        <p:sp>
          <p:nvSpPr>
            <p:cNvPr id="1150" name="Ellipse 1149">
              <a:extLst>
                <a:ext uri="{FF2B5EF4-FFF2-40B4-BE49-F238E27FC236}">
                  <a16:creationId xmlns:a16="http://schemas.microsoft.com/office/drawing/2014/main" id="{F2A937FD-4A9E-CFDD-8340-48F6675D9AF3}"/>
                </a:ext>
              </a:extLst>
            </p:cNvPr>
            <p:cNvSpPr/>
            <p:nvPr/>
          </p:nvSpPr>
          <p:spPr>
            <a:xfrm>
              <a:off x="2640808" y="2382205"/>
              <a:ext cx="173830" cy="173827"/>
            </a:xfrm>
            <a:prstGeom prst="ellipse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151" name="Grafik 9">
              <a:extLst>
                <a:ext uri="{FF2B5EF4-FFF2-40B4-BE49-F238E27FC236}">
                  <a16:creationId xmlns:a16="http://schemas.microsoft.com/office/drawing/2014/main" id="{6E4A3481-E12E-4E64-B450-CE3FA92F78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647"/>
            <a:stretch/>
          </p:blipFill>
          <p:spPr>
            <a:xfrm>
              <a:off x="2682048" y="2407812"/>
              <a:ext cx="127139" cy="112846"/>
            </a:xfrm>
            <a:prstGeom prst="rect">
              <a:avLst/>
            </a:prstGeom>
          </p:spPr>
        </p:pic>
      </p:grpSp>
      <p:cxnSp>
        <p:nvCxnSpPr>
          <p:cNvPr id="1163" name="Gerade Verbindung mit Pfeil 1162">
            <a:extLst>
              <a:ext uri="{FF2B5EF4-FFF2-40B4-BE49-F238E27FC236}">
                <a16:creationId xmlns:a16="http://schemas.microsoft.com/office/drawing/2014/main" id="{FFC319E7-B14D-F720-0F71-BF2E22CE325B}"/>
              </a:ext>
            </a:extLst>
          </p:cNvPr>
          <p:cNvCxnSpPr>
            <a:cxnSpLocks/>
          </p:cNvCxnSpPr>
          <p:nvPr/>
        </p:nvCxnSpPr>
        <p:spPr>
          <a:xfrm flipV="1">
            <a:off x="2774509" y="3874583"/>
            <a:ext cx="0" cy="1432907"/>
          </a:xfrm>
          <a:prstGeom prst="straightConnector1">
            <a:avLst/>
          </a:prstGeom>
          <a:ln w="12700">
            <a:solidFill>
              <a:schemeClr val="bg2">
                <a:lumMod val="5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3" name="Rechteck: abgerundete Ecken 248">
            <a:extLst>
              <a:ext uri="{FF2B5EF4-FFF2-40B4-BE49-F238E27FC236}">
                <a16:creationId xmlns:a16="http://schemas.microsoft.com/office/drawing/2014/main" id="{344229B9-C7E9-E365-7300-DD9B8384FE28}"/>
              </a:ext>
            </a:extLst>
          </p:cNvPr>
          <p:cNvSpPr/>
          <p:nvPr/>
        </p:nvSpPr>
        <p:spPr>
          <a:xfrm>
            <a:off x="8913888" y="3120605"/>
            <a:ext cx="2448001" cy="930274"/>
          </a:xfrm>
          <a:prstGeom prst="roundRect">
            <a:avLst>
              <a:gd name="adj" fmla="val 7727"/>
            </a:avLst>
          </a:prstGeom>
          <a:solidFill>
            <a:schemeClr val="bg1"/>
          </a:solidFill>
          <a:ln w="28575" cap="flat" cmpd="sng" algn="ctr">
            <a:solidFill>
              <a:srgbClr val="B4CC2D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174" name="Gruppieren 1173">
            <a:extLst>
              <a:ext uri="{FF2B5EF4-FFF2-40B4-BE49-F238E27FC236}">
                <a16:creationId xmlns:a16="http://schemas.microsoft.com/office/drawing/2014/main" id="{40CC4C56-9771-FF57-7CBD-E3CA32926A57}"/>
              </a:ext>
            </a:extLst>
          </p:cNvPr>
          <p:cNvGrpSpPr/>
          <p:nvPr/>
        </p:nvGrpSpPr>
        <p:grpSpPr>
          <a:xfrm>
            <a:off x="9372288" y="3044169"/>
            <a:ext cx="1512000" cy="198368"/>
            <a:chOff x="1344000" y="2349896"/>
            <a:chExt cx="1512000" cy="216000"/>
          </a:xfrm>
        </p:grpSpPr>
        <p:sp>
          <p:nvSpPr>
            <p:cNvPr id="1175" name="Textfeld 249">
              <a:extLst>
                <a:ext uri="{FF2B5EF4-FFF2-40B4-BE49-F238E27FC236}">
                  <a16:creationId xmlns:a16="http://schemas.microsoft.com/office/drawing/2014/main" id="{C104FFAF-473D-32F2-22A9-269197ECE96E}"/>
                </a:ext>
              </a:extLst>
            </p:cNvPr>
            <p:cNvSpPr txBox="1"/>
            <p:nvPr/>
          </p:nvSpPr>
          <p:spPr>
            <a:xfrm>
              <a:off x="1344000" y="2349896"/>
              <a:ext cx="1512000" cy="216000"/>
            </a:xfrm>
            <a:prstGeom prst="roundRect">
              <a:avLst>
                <a:gd name="adj" fmla="val 50000"/>
              </a:avLst>
            </a:prstGeom>
            <a:solidFill>
              <a:srgbClr val="B4CC2D"/>
            </a:solidFill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400" cap="none" spc="8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IGITAL TWIN</a:t>
              </a:r>
            </a:p>
          </p:txBody>
        </p:sp>
        <p:sp>
          <p:nvSpPr>
            <p:cNvPr id="1176" name="Ellipse 1175">
              <a:extLst>
                <a:ext uri="{FF2B5EF4-FFF2-40B4-BE49-F238E27FC236}">
                  <a16:creationId xmlns:a16="http://schemas.microsoft.com/office/drawing/2014/main" id="{1229B013-D1FA-1E68-B2EB-39DA0EB47F47}"/>
                </a:ext>
              </a:extLst>
            </p:cNvPr>
            <p:cNvSpPr/>
            <p:nvPr/>
          </p:nvSpPr>
          <p:spPr>
            <a:xfrm>
              <a:off x="2640808" y="2382205"/>
              <a:ext cx="173830" cy="173827"/>
            </a:xfrm>
            <a:prstGeom prst="ellipse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177" name="Grafik 9">
              <a:extLst>
                <a:ext uri="{FF2B5EF4-FFF2-40B4-BE49-F238E27FC236}">
                  <a16:creationId xmlns:a16="http://schemas.microsoft.com/office/drawing/2014/main" id="{87EA8366-6720-D4B1-EBDD-12662AA272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647"/>
            <a:stretch/>
          </p:blipFill>
          <p:spPr>
            <a:xfrm>
              <a:off x="2682048" y="2407812"/>
              <a:ext cx="127139" cy="112846"/>
            </a:xfrm>
            <a:prstGeom prst="rect">
              <a:avLst/>
            </a:prstGeom>
          </p:spPr>
        </p:pic>
      </p:grpSp>
      <p:sp>
        <p:nvSpPr>
          <p:cNvPr id="1171" name="Freihandform: Form 1170">
            <a:extLst>
              <a:ext uri="{FF2B5EF4-FFF2-40B4-BE49-F238E27FC236}">
                <a16:creationId xmlns:a16="http://schemas.microsoft.com/office/drawing/2014/main" id="{E7254C2A-ED37-532A-8313-83CAC325F9E3}"/>
              </a:ext>
            </a:extLst>
          </p:cNvPr>
          <p:cNvSpPr/>
          <p:nvPr/>
        </p:nvSpPr>
        <p:spPr>
          <a:xfrm>
            <a:off x="10446093" y="5073920"/>
            <a:ext cx="123118" cy="164181"/>
          </a:xfrm>
          <a:custGeom>
            <a:avLst/>
            <a:gdLst>
              <a:gd name="connsiteX0" fmla="*/ 0 w 123118"/>
              <a:gd name="connsiteY0" fmla="*/ 0 h 164181"/>
              <a:gd name="connsiteX1" fmla="*/ 0 w 123118"/>
              <a:gd name="connsiteY1" fmla="*/ 164181 h 164181"/>
              <a:gd name="connsiteX2" fmla="*/ 123118 w 123118"/>
              <a:gd name="connsiteY2" fmla="*/ 164181 h 164181"/>
              <a:gd name="connsiteX3" fmla="*/ 123118 w 123118"/>
              <a:gd name="connsiteY3" fmla="*/ 32880 h 164181"/>
              <a:gd name="connsiteX4" fmla="*/ 90238 w 123118"/>
              <a:gd name="connsiteY4" fmla="*/ 0 h 164181"/>
              <a:gd name="connsiteX5" fmla="*/ 0 w 123118"/>
              <a:gd name="connsiteY5" fmla="*/ 0 h 164181"/>
              <a:gd name="connsiteX6" fmla="*/ 41063 w 123118"/>
              <a:gd name="connsiteY6" fmla="*/ 138544 h 164181"/>
              <a:gd name="connsiteX7" fmla="*/ 35921 w 123118"/>
              <a:gd name="connsiteY7" fmla="*/ 143686 h 164181"/>
              <a:gd name="connsiteX8" fmla="*/ 30780 w 123118"/>
              <a:gd name="connsiteY8" fmla="*/ 138544 h 164181"/>
              <a:gd name="connsiteX9" fmla="*/ 30780 w 123118"/>
              <a:gd name="connsiteY9" fmla="*/ 105809 h 164181"/>
              <a:gd name="connsiteX10" fmla="*/ 27955 w 123118"/>
              <a:gd name="connsiteY10" fmla="*/ 107258 h 164181"/>
              <a:gd name="connsiteX11" fmla="*/ 21075 w 123118"/>
              <a:gd name="connsiteY11" fmla="*/ 104940 h 164181"/>
              <a:gd name="connsiteX12" fmla="*/ 23392 w 123118"/>
              <a:gd name="connsiteY12" fmla="*/ 98060 h 164181"/>
              <a:gd name="connsiteX13" fmla="*/ 33676 w 123118"/>
              <a:gd name="connsiteY13" fmla="*/ 92918 h 164181"/>
              <a:gd name="connsiteX14" fmla="*/ 38674 w 123118"/>
              <a:gd name="connsiteY14" fmla="*/ 93135 h 164181"/>
              <a:gd name="connsiteX15" fmla="*/ 41136 w 123118"/>
              <a:gd name="connsiteY15" fmla="*/ 97480 h 164181"/>
              <a:gd name="connsiteX16" fmla="*/ 41136 w 123118"/>
              <a:gd name="connsiteY16" fmla="*/ 138544 h 164181"/>
              <a:gd name="connsiteX17" fmla="*/ 41063 w 123118"/>
              <a:gd name="connsiteY17" fmla="*/ 71843 h 164181"/>
              <a:gd name="connsiteX18" fmla="*/ 20568 w 123118"/>
              <a:gd name="connsiteY18" fmla="*/ 51347 h 164181"/>
              <a:gd name="connsiteX19" fmla="*/ 20568 w 123118"/>
              <a:gd name="connsiteY19" fmla="*/ 41063 h 164181"/>
              <a:gd name="connsiteX20" fmla="*/ 41063 w 123118"/>
              <a:gd name="connsiteY20" fmla="*/ 20568 h 164181"/>
              <a:gd name="connsiteX21" fmla="*/ 61559 w 123118"/>
              <a:gd name="connsiteY21" fmla="*/ 41063 h 164181"/>
              <a:gd name="connsiteX22" fmla="*/ 61559 w 123118"/>
              <a:gd name="connsiteY22" fmla="*/ 51347 h 164181"/>
              <a:gd name="connsiteX23" fmla="*/ 41063 w 123118"/>
              <a:gd name="connsiteY23" fmla="*/ 71843 h 164181"/>
              <a:gd name="connsiteX24" fmla="*/ 102622 w 123118"/>
              <a:gd name="connsiteY24" fmla="*/ 112906 h 164181"/>
              <a:gd name="connsiteX25" fmla="*/ 102622 w 123118"/>
              <a:gd name="connsiteY25" fmla="*/ 123190 h 164181"/>
              <a:gd name="connsiteX26" fmla="*/ 82127 w 123118"/>
              <a:gd name="connsiteY26" fmla="*/ 143686 h 164181"/>
              <a:gd name="connsiteX27" fmla="*/ 61631 w 123118"/>
              <a:gd name="connsiteY27" fmla="*/ 123190 h 164181"/>
              <a:gd name="connsiteX28" fmla="*/ 61631 w 123118"/>
              <a:gd name="connsiteY28" fmla="*/ 112906 h 164181"/>
              <a:gd name="connsiteX29" fmla="*/ 82127 w 123118"/>
              <a:gd name="connsiteY29" fmla="*/ 92411 h 164181"/>
              <a:gd name="connsiteX30" fmla="*/ 102622 w 123118"/>
              <a:gd name="connsiteY30" fmla="*/ 112906 h 164181"/>
              <a:gd name="connsiteX31" fmla="*/ 92339 w 123118"/>
              <a:gd name="connsiteY31" fmla="*/ 66701 h 164181"/>
              <a:gd name="connsiteX32" fmla="*/ 87197 w 123118"/>
              <a:gd name="connsiteY32" fmla="*/ 71843 h 164181"/>
              <a:gd name="connsiteX33" fmla="*/ 82055 w 123118"/>
              <a:gd name="connsiteY33" fmla="*/ 66701 h 164181"/>
              <a:gd name="connsiteX34" fmla="*/ 82055 w 123118"/>
              <a:gd name="connsiteY34" fmla="*/ 33966 h 164181"/>
              <a:gd name="connsiteX35" fmla="*/ 79230 w 123118"/>
              <a:gd name="connsiteY35" fmla="*/ 35415 h 164181"/>
              <a:gd name="connsiteX36" fmla="*/ 72350 w 123118"/>
              <a:gd name="connsiteY36" fmla="*/ 33097 h 164181"/>
              <a:gd name="connsiteX37" fmla="*/ 74667 w 123118"/>
              <a:gd name="connsiteY37" fmla="*/ 26217 h 164181"/>
              <a:gd name="connsiteX38" fmla="*/ 84951 w 123118"/>
              <a:gd name="connsiteY38" fmla="*/ 21075 h 164181"/>
              <a:gd name="connsiteX39" fmla="*/ 89949 w 123118"/>
              <a:gd name="connsiteY39" fmla="*/ 21292 h 164181"/>
              <a:gd name="connsiteX40" fmla="*/ 92411 w 123118"/>
              <a:gd name="connsiteY40" fmla="*/ 25638 h 164181"/>
              <a:gd name="connsiteX41" fmla="*/ 92411 w 123118"/>
              <a:gd name="connsiteY41" fmla="*/ 66701 h 164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23118" h="164181">
                <a:moveTo>
                  <a:pt x="0" y="0"/>
                </a:moveTo>
                <a:lnTo>
                  <a:pt x="0" y="164181"/>
                </a:lnTo>
                <a:lnTo>
                  <a:pt x="123118" y="164181"/>
                </a:lnTo>
                <a:lnTo>
                  <a:pt x="123118" y="32880"/>
                </a:lnTo>
                <a:lnTo>
                  <a:pt x="90238" y="0"/>
                </a:lnTo>
                <a:lnTo>
                  <a:pt x="0" y="0"/>
                </a:lnTo>
                <a:close/>
                <a:moveTo>
                  <a:pt x="41063" y="138544"/>
                </a:moveTo>
                <a:cubicBezTo>
                  <a:pt x="41063" y="141368"/>
                  <a:pt x="38746" y="143686"/>
                  <a:pt x="35921" y="143686"/>
                </a:cubicBezTo>
                <a:cubicBezTo>
                  <a:pt x="33097" y="143686"/>
                  <a:pt x="30780" y="141368"/>
                  <a:pt x="30780" y="138544"/>
                </a:cubicBezTo>
                <a:lnTo>
                  <a:pt x="30780" y="105809"/>
                </a:lnTo>
                <a:lnTo>
                  <a:pt x="27955" y="107258"/>
                </a:lnTo>
                <a:cubicBezTo>
                  <a:pt x="25420" y="108489"/>
                  <a:pt x="22306" y="107475"/>
                  <a:pt x="21075" y="104940"/>
                </a:cubicBezTo>
                <a:cubicBezTo>
                  <a:pt x="19844" y="102405"/>
                  <a:pt x="20858" y="99291"/>
                  <a:pt x="23392" y="98060"/>
                </a:cubicBezTo>
                <a:lnTo>
                  <a:pt x="33676" y="92918"/>
                </a:lnTo>
                <a:cubicBezTo>
                  <a:pt x="35270" y="92121"/>
                  <a:pt x="37153" y="92194"/>
                  <a:pt x="38674" y="93135"/>
                </a:cubicBezTo>
                <a:cubicBezTo>
                  <a:pt x="40194" y="94077"/>
                  <a:pt x="41136" y="95742"/>
                  <a:pt x="41136" y="97480"/>
                </a:cubicBezTo>
                <a:lnTo>
                  <a:pt x="41136" y="138544"/>
                </a:lnTo>
                <a:close/>
                <a:moveTo>
                  <a:pt x="41063" y="71843"/>
                </a:moveTo>
                <a:cubicBezTo>
                  <a:pt x="29766" y="71843"/>
                  <a:pt x="20568" y="62645"/>
                  <a:pt x="20568" y="51347"/>
                </a:cubicBezTo>
                <a:lnTo>
                  <a:pt x="20568" y="41063"/>
                </a:lnTo>
                <a:cubicBezTo>
                  <a:pt x="20568" y="29766"/>
                  <a:pt x="29766" y="20568"/>
                  <a:pt x="41063" y="20568"/>
                </a:cubicBezTo>
                <a:cubicBezTo>
                  <a:pt x="52361" y="20568"/>
                  <a:pt x="61559" y="29766"/>
                  <a:pt x="61559" y="41063"/>
                </a:cubicBezTo>
                <a:lnTo>
                  <a:pt x="61559" y="51347"/>
                </a:lnTo>
                <a:cubicBezTo>
                  <a:pt x="61559" y="62645"/>
                  <a:pt x="52361" y="71843"/>
                  <a:pt x="41063" y="71843"/>
                </a:cubicBezTo>
                <a:close/>
                <a:moveTo>
                  <a:pt x="102622" y="112906"/>
                </a:moveTo>
                <a:lnTo>
                  <a:pt x="102622" y="123190"/>
                </a:lnTo>
                <a:cubicBezTo>
                  <a:pt x="102622" y="134488"/>
                  <a:pt x="93425" y="143686"/>
                  <a:pt x="82127" y="143686"/>
                </a:cubicBezTo>
                <a:cubicBezTo>
                  <a:pt x="70829" y="143686"/>
                  <a:pt x="61631" y="134488"/>
                  <a:pt x="61631" y="123190"/>
                </a:cubicBezTo>
                <a:lnTo>
                  <a:pt x="61631" y="112906"/>
                </a:lnTo>
                <a:cubicBezTo>
                  <a:pt x="61631" y="101609"/>
                  <a:pt x="70829" y="92411"/>
                  <a:pt x="82127" y="92411"/>
                </a:cubicBezTo>
                <a:cubicBezTo>
                  <a:pt x="93425" y="92411"/>
                  <a:pt x="102622" y="101609"/>
                  <a:pt x="102622" y="112906"/>
                </a:cubicBezTo>
                <a:close/>
                <a:moveTo>
                  <a:pt x="92339" y="66701"/>
                </a:moveTo>
                <a:cubicBezTo>
                  <a:pt x="92339" y="69525"/>
                  <a:pt x="90021" y="71843"/>
                  <a:pt x="87197" y="71843"/>
                </a:cubicBezTo>
                <a:cubicBezTo>
                  <a:pt x="84372" y="71843"/>
                  <a:pt x="82055" y="69525"/>
                  <a:pt x="82055" y="66701"/>
                </a:cubicBezTo>
                <a:lnTo>
                  <a:pt x="82055" y="33966"/>
                </a:lnTo>
                <a:lnTo>
                  <a:pt x="79230" y="35415"/>
                </a:lnTo>
                <a:cubicBezTo>
                  <a:pt x="76695" y="36646"/>
                  <a:pt x="73581" y="35632"/>
                  <a:pt x="72350" y="33097"/>
                </a:cubicBezTo>
                <a:cubicBezTo>
                  <a:pt x="71119" y="30562"/>
                  <a:pt x="72133" y="27448"/>
                  <a:pt x="74667" y="26217"/>
                </a:cubicBezTo>
                <a:lnTo>
                  <a:pt x="84951" y="21075"/>
                </a:lnTo>
                <a:cubicBezTo>
                  <a:pt x="86545" y="20278"/>
                  <a:pt x="88428" y="20351"/>
                  <a:pt x="89949" y="21292"/>
                </a:cubicBezTo>
                <a:cubicBezTo>
                  <a:pt x="91469" y="22234"/>
                  <a:pt x="92411" y="23899"/>
                  <a:pt x="92411" y="25638"/>
                </a:cubicBezTo>
                <a:lnTo>
                  <a:pt x="92411" y="66701"/>
                </a:lnTo>
                <a:close/>
              </a:path>
            </a:pathLst>
          </a:custGeom>
          <a:noFill/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2" name="Freihandform: Form 1171">
            <a:extLst>
              <a:ext uri="{FF2B5EF4-FFF2-40B4-BE49-F238E27FC236}">
                <a16:creationId xmlns:a16="http://schemas.microsoft.com/office/drawing/2014/main" id="{8588A17C-F616-DFDB-61B4-921FFD7B01B3}"/>
              </a:ext>
            </a:extLst>
          </p:cNvPr>
          <p:cNvSpPr/>
          <p:nvPr/>
        </p:nvSpPr>
        <p:spPr>
          <a:xfrm>
            <a:off x="10517935" y="5176542"/>
            <a:ext cx="20567" cy="30851"/>
          </a:xfrm>
          <a:custGeom>
            <a:avLst/>
            <a:gdLst>
              <a:gd name="connsiteX0" fmla="*/ 0 w 20567"/>
              <a:gd name="connsiteY0" fmla="*/ 10284 h 30851"/>
              <a:gd name="connsiteX1" fmla="*/ 0 w 20567"/>
              <a:gd name="connsiteY1" fmla="*/ 20568 h 30851"/>
              <a:gd name="connsiteX2" fmla="*/ 10284 w 20567"/>
              <a:gd name="connsiteY2" fmla="*/ 30852 h 30851"/>
              <a:gd name="connsiteX3" fmla="*/ 20568 w 20567"/>
              <a:gd name="connsiteY3" fmla="*/ 20568 h 30851"/>
              <a:gd name="connsiteX4" fmla="*/ 20568 w 20567"/>
              <a:gd name="connsiteY4" fmla="*/ 10284 h 30851"/>
              <a:gd name="connsiteX5" fmla="*/ 10284 w 20567"/>
              <a:gd name="connsiteY5" fmla="*/ 0 h 30851"/>
              <a:gd name="connsiteX6" fmla="*/ 0 w 20567"/>
              <a:gd name="connsiteY6" fmla="*/ 10284 h 30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67" h="30851">
                <a:moveTo>
                  <a:pt x="0" y="10284"/>
                </a:moveTo>
                <a:lnTo>
                  <a:pt x="0" y="20568"/>
                </a:lnTo>
                <a:cubicBezTo>
                  <a:pt x="0" y="26217"/>
                  <a:pt x="4635" y="30852"/>
                  <a:pt x="10284" y="30852"/>
                </a:cubicBezTo>
                <a:cubicBezTo>
                  <a:pt x="15933" y="30852"/>
                  <a:pt x="20568" y="26217"/>
                  <a:pt x="20568" y="20568"/>
                </a:cubicBezTo>
                <a:lnTo>
                  <a:pt x="20568" y="10284"/>
                </a:lnTo>
                <a:cubicBezTo>
                  <a:pt x="20568" y="4635"/>
                  <a:pt x="15933" y="0"/>
                  <a:pt x="10284" y="0"/>
                </a:cubicBezTo>
                <a:cubicBezTo>
                  <a:pt x="4635" y="0"/>
                  <a:pt x="0" y="4635"/>
                  <a:pt x="0" y="10284"/>
                </a:cubicBezTo>
                <a:close/>
              </a:path>
            </a:pathLst>
          </a:custGeom>
          <a:noFill/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9" name="Freihandform: Form 1178">
            <a:extLst>
              <a:ext uri="{FF2B5EF4-FFF2-40B4-BE49-F238E27FC236}">
                <a16:creationId xmlns:a16="http://schemas.microsoft.com/office/drawing/2014/main" id="{E0FCF8E0-0172-FA5B-EF6F-65B3CA868F57}"/>
              </a:ext>
            </a:extLst>
          </p:cNvPr>
          <p:cNvSpPr/>
          <p:nvPr/>
        </p:nvSpPr>
        <p:spPr>
          <a:xfrm>
            <a:off x="10404377" y="5040001"/>
            <a:ext cx="77709" cy="77709"/>
          </a:xfrm>
          <a:custGeom>
            <a:avLst/>
            <a:gdLst>
              <a:gd name="connsiteX0" fmla="*/ 5142 w 77709"/>
              <a:gd name="connsiteY0" fmla="*/ 77709 h 77709"/>
              <a:gd name="connsiteX1" fmla="*/ 10284 w 77709"/>
              <a:gd name="connsiteY1" fmla="*/ 72567 h 77709"/>
              <a:gd name="connsiteX2" fmla="*/ 10284 w 77709"/>
              <a:gd name="connsiteY2" fmla="*/ 10284 h 77709"/>
              <a:gd name="connsiteX3" fmla="*/ 72567 w 77709"/>
              <a:gd name="connsiteY3" fmla="*/ 10284 h 77709"/>
              <a:gd name="connsiteX4" fmla="*/ 77709 w 77709"/>
              <a:gd name="connsiteY4" fmla="*/ 5142 h 77709"/>
              <a:gd name="connsiteX5" fmla="*/ 72567 w 77709"/>
              <a:gd name="connsiteY5" fmla="*/ 0 h 77709"/>
              <a:gd name="connsiteX6" fmla="*/ 5142 w 77709"/>
              <a:gd name="connsiteY6" fmla="*/ 0 h 77709"/>
              <a:gd name="connsiteX7" fmla="*/ 0 w 77709"/>
              <a:gd name="connsiteY7" fmla="*/ 5142 h 77709"/>
              <a:gd name="connsiteX8" fmla="*/ 0 w 77709"/>
              <a:gd name="connsiteY8" fmla="*/ 72567 h 77709"/>
              <a:gd name="connsiteX9" fmla="*/ 5142 w 77709"/>
              <a:gd name="connsiteY9" fmla="*/ 77709 h 7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709" h="77709">
                <a:moveTo>
                  <a:pt x="5142" y="77709"/>
                </a:moveTo>
                <a:cubicBezTo>
                  <a:pt x="7966" y="77709"/>
                  <a:pt x="10284" y="75392"/>
                  <a:pt x="10284" y="72567"/>
                </a:cubicBezTo>
                <a:lnTo>
                  <a:pt x="10284" y="10284"/>
                </a:lnTo>
                <a:lnTo>
                  <a:pt x="72567" y="10284"/>
                </a:lnTo>
                <a:cubicBezTo>
                  <a:pt x="75392" y="10284"/>
                  <a:pt x="77709" y="7966"/>
                  <a:pt x="77709" y="5142"/>
                </a:cubicBezTo>
                <a:cubicBezTo>
                  <a:pt x="77709" y="2318"/>
                  <a:pt x="75392" y="0"/>
                  <a:pt x="72567" y="0"/>
                </a:cubicBezTo>
                <a:lnTo>
                  <a:pt x="5142" y="0"/>
                </a:lnTo>
                <a:cubicBezTo>
                  <a:pt x="2318" y="0"/>
                  <a:pt x="0" y="2318"/>
                  <a:pt x="0" y="5142"/>
                </a:cubicBezTo>
                <a:lnTo>
                  <a:pt x="0" y="72567"/>
                </a:lnTo>
                <a:cubicBezTo>
                  <a:pt x="0" y="75392"/>
                  <a:pt x="2318" y="77709"/>
                  <a:pt x="5142" y="77709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0" name="Freihandform: Form 1179">
            <a:extLst>
              <a:ext uri="{FF2B5EF4-FFF2-40B4-BE49-F238E27FC236}">
                <a16:creationId xmlns:a16="http://schemas.microsoft.com/office/drawing/2014/main" id="{21FF9973-1F91-9517-F108-D4FDD787D409}"/>
              </a:ext>
            </a:extLst>
          </p:cNvPr>
          <p:cNvSpPr/>
          <p:nvPr/>
        </p:nvSpPr>
        <p:spPr>
          <a:xfrm>
            <a:off x="10408346" y="5195106"/>
            <a:ext cx="77709" cy="77709"/>
          </a:xfrm>
          <a:custGeom>
            <a:avLst/>
            <a:gdLst>
              <a:gd name="connsiteX0" fmla="*/ 5142 w 77709"/>
              <a:gd name="connsiteY0" fmla="*/ 77709 h 77709"/>
              <a:gd name="connsiteX1" fmla="*/ 72567 w 77709"/>
              <a:gd name="connsiteY1" fmla="*/ 77709 h 77709"/>
              <a:gd name="connsiteX2" fmla="*/ 77709 w 77709"/>
              <a:gd name="connsiteY2" fmla="*/ 72567 h 77709"/>
              <a:gd name="connsiteX3" fmla="*/ 72567 w 77709"/>
              <a:gd name="connsiteY3" fmla="*/ 67425 h 77709"/>
              <a:gd name="connsiteX4" fmla="*/ 10284 w 77709"/>
              <a:gd name="connsiteY4" fmla="*/ 67425 h 77709"/>
              <a:gd name="connsiteX5" fmla="*/ 10284 w 77709"/>
              <a:gd name="connsiteY5" fmla="*/ 5142 h 77709"/>
              <a:gd name="connsiteX6" fmla="*/ 5142 w 77709"/>
              <a:gd name="connsiteY6" fmla="*/ 0 h 77709"/>
              <a:gd name="connsiteX7" fmla="*/ 0 w 77709"/>
              <a:gd name="connsiteY7" fmla="*/ 5142 h 77709"/>
              <a:gd name="connsiteX8" fmla="*/ 0 w 77709"/>
              <a:gd name="connsiteY8" fmla="*/ 72567 h 77709"/>
              <a:gd name="connsiteX9" fmla="*/ 5142 w 77709"/>
              <a:gd name="connsiteY9" fmla="*/ 77709 h 7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709" h="77709">
                <a:moveTo>
                  <a:pt x="5142" y="77709"/>
                </a:moveTo>
                <a:lnTo>
                  <a:pt x="72567" y="77709"/>
                </a:lnTo>
                <a:cubicBezTo>
                  <a:pt x="75392" y="77709"/>
                  <a:pt x="77709" y="75392"/>
                  <a:pt x="77709" y="72567"/>
                </a:cubicBezTo>
                <a:cubicBezTo>
                  <a:pt x="77709" y="69743"/>
                  <a:pt x="75392" y="67425"/>
                  <a:pt x="72567" y="67425"/>
                </a:cubicBezTo>
                <a:lnTo>
                  <a:pt x="10284" y="67425"/>
                </a:lnTo>
                <a:lnTo>
                  <a:pt x="10284" y="5142"/>
                </a:lnTo>
                <a:cubicBezTo>
                  <a:pt x="10284" y="2318"/>
                  <a:pt x="7966" y="0"/>
                  <a:pt x="5142" y="0"/>
                </a:cubicBezTo>
                <a:cubicBezTo>
                  <a:pt x="2318" y="0"/>
                  <a:pt x="0" y="2318"/>
                  <a:pt x="0" y="5142"/>
                </a:cubicBezTo>
                <a:lnTo>
                  <a:pt x="0" y="72567"/>
                </a:lnTo>
                <a:cubicBezTo>
                  <a:pt x="0" y="75392"/>
                  <a:pt x="2318" y="77709"/>
                  <a:pt x="5142" y="77709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1" name="Freihandform: Form 1180">
            <a:extLst>
              <a:ext uri="{FF2B5EF4-FFF2-40B4-BE49-F238E27FC236}">
                <a16:creationId xmlns:a16="http://schemas.microsoft.com/office/drawing/2014/main" id="{E3DCB00B-C921-8083-C449-72A5F636B8F2}"/>
              </a:ext>
            </a:extLst>
          </p:cNvPr>
          <p:cNvSpPr/>
          <p:nvPr/>
        </p:nvSpPr>
        <p:spPr>
          <a:xfrm>
            <a:off x="10530115" y="5191931"/>
            <a:ext cx="77709" cy="77709"/>
          </a:xfrm>
          <a:custGeom>
            <a:avLst/>
            <a:gdLst>
              <a:gd name="connsiteX0" fmla="*/ 77709 w 77709"/>
              <a:gd name="connsiteY0" fmla="*/ 5142 h 77709"/>
              <a:gd name="connsiteX1" fmla="*/ 72567 w 77709"/>
              <a:gd name="connsiteY1" fmla="*/ 0 h 77709"/>
              <a:gd name="connsiteX2" fmla="*/ 67425 w 77709"/>
              <a:gd name="connsiteY2" fmla="*/ 5142 h 77709"/>
              <a:gd name="connsiteX3" fmla="*/ 67425 w 77709"/>
              <a:gd name="connsiteY3" fmla="*/ 67425 h 77709"/>
              <a:gd name="connsiteX4" fmla="*/ 5142 w 77709"/>
              <a:gd name="connsiteY4" fmla="*/ 67425 h 77709"/>
              <a:gd name="connsiteX5" fmla="*/ 0 w 77709"/>
              <a:gd name="connsiteY5" fmla="*/ 72567 h 77709"/>
              <a:gd name="connsiteX6" fmla="*/ 5142 w 77709"/>
              <a:gd name="connsiteY6" fmla="*/ 77709 h 77709"/>
              <a:gd name="connsiteX7" fmla="*/ 72567 w 77709"/>
              <a:gd name="connsiteY7" fmla="*/ 77709 h 77709"/>
              <a:gd name="connsiteX8" fmla="*/ 77709 w 77709"/>
              <a:gd name="connsiteY8" fmla="*/ 72567 h 77709"/>
              <a:gd name="connsiteX9" fmla="*/ 77709 w 77709"/>
              <a:gd name="connsiteY9" fmla="*/ 5142 h 7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709" h="77709">
                <a:moveTo>
                  <a:pt x="77709" y="5142"/>
                </a:moveTo>
                <a:cubicBezTo>
                  <a:pt x="77709" y="2318"/>
                  <a:pt x="75392" y="0"/>
                  <a:pt x="72567" y="0"/>
                </a:cubicBezTo>
                <a:cubicBezTo>
                  <a:pt x="69743" y="0"/>
                  <a:pt x="67425" y="2318"/>
                  <a:pt x="67425" y="5142"/>
                </a:cubicBezTo>
                <a:lnTo>
                  <a:pt x="67425" y="67425"/>
                </a:lnTo>
                <a:lnTo>
                  <a:pt x="5142" y="67425"/>
                </a:lnTo>
                <a:cubicBezTo>
                  <a:pt x="2318" y="67425"/>
                  <a:pt x="0" y="69743"/>
                  <a:pt x="0" y="72567"/>
                </a:cubicBezTo>
                <a:cubicBezTo>
                  <a:pt x="0" y="75392"/>
                  <a:pt x="2318" y="77709"/>
                  <a:pt x="5142" y="77709"/>
                </a:cubicBezTo>
                <a:lnTo>
                  <a:pt x="72567" y="77709"/>
                </a:lnTo>
                <a:cubicBezTo>
                  <a:pt x="75392" y="77709"/>
                  <a:pt x="77709" y="75392"/>
                  <a:pt x="77709" y="72567"/>
                </a:cubicBezTo>
                <a:lnTo>
                  <a:pt x="77709" y="514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2" name="Freihandform: Form 1181">
            <a:extLst>
              <a:ext uri="{FF2B5EF4-FFF2-40B4-BE49-F238E27FC236}">
                <a16:creationId xmlns:a16="http://schemas.microsoft.com/office/drawing/2014/main" id="{6AA9CD08-70D0-2ABB-91C1-F1EB74C2B1E3}"/>
              </a:ext>
            </a:extLst>
          </p:cNvPr>
          <p:cNvSpPr/>
          <p:nvPr/>
        </p:nvSpPr>
        <p:spPr>
          <a:xfrm>
            <a:off x="10533290" y="5040001"/>
            <a:ext cx="77709" cy="77709"/>
          </a:xfrm>
          <a:custGeom>
            <a:avLst/>
            <a:gdLst>
              <a:gd name="connsiteX0" fmla="*/ 77709 w 77709"/>
              <a:gd name="connsiteY0" fmla="*/ 5142 h 77709"/>
              <a:gd name="connsiteX1" fmla="*/ 72567 w 77709"/>
              <a:gd name="connsiteY1" fmla="*/ 0 h 77709"/>
              <a:gd name="connsiteX2" fmla="*/ 5142 w 77709"/>
              <a:gd name="connsiteY2" fmla="*/ 0 h 77709"/>
              <a:gd name="connsiteX3" fmla="*/ 0 w 77709"/>
              <a:gd name="connsiteY3" fmla="*/ 5142 h 77709"/>
              <a:gd name="connsiteX4" fmla="*/ 5142 w 77709"/>
              <a:gd name="connsiteY4" fmla="*/ 10284 h 77709"/>
              <a:gd name="connsiteX5" fmla="*/ 67425 w 77709"/>
              <a:gd name="connsiteY5" fmla="*/ 10284 h 77709"/>
              <a:gd name="connsiteX6" fmla="*/ 67425 w 77709"/>
              <a:gd name="connsiteY6" fmla="*/ 72567 h 77709"/>
              <a:gd name="connsiteX7" fmla="*/ 72567 w 77709"/>
              <a:gd name="connsiteY7" fmla="*/ 77709 h 77709"/>
              <a:gd name="connsiteX8" fmla="*/ 77709 w 77709"/>
              <a:gd name="connsiteY8" fmla="*/ 72567 h 77709"/>
              <a:gd name="connsiteX9" fmla="*/ 77709 w 77709"/>
              <a:gd name="connsiteY9" fmla="*/ 5142 h 77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709" h="77709">
                <a:moveTo>
                  <a:pt x="77709" y="5142"/>
                </a:moveTo>
                <a:cubicBezTo>
                  <a:pt x="77709" y="2318"/>
                  <a:pt x="75392" y="0"/>
                  <a:pt x="72567" y="0"/>
                </a:cubicBezTo>
                <a:lnTo>
                  <a:pt x="5142" y="0"/>
                </a:lnTo>
                <a:cubicBezTo>
                  <a:pt x="2318" y="0"/>
                  <a:pt x="0" y="2318"/>
                  <a:pt x="0" y="5142"/>
                </a:cubicBezTo>
                <a:cubicBezTo>
                  <a:pt x="0" y="7966"/>
                  <a:pt x="2318" y="10284"/>
                  <a:pt x="5142" y="10284"/>
                </a:cubicBezTo>
                <a:lnTo>
                  <a:pt x="67425" y="10284"/>
                </a:lnTo>
                <a:lnTo>
                  <a:pt x="67425" y="72567"/>
                </a:lnTo>
                <a:cubicBezTo>
                  <a:pt x="67425" y="75392"/>
                  <a:pt x="69743" y="77709"/>
                  <a:pt x="72567" y="77709"/>
                </a:cubicBezTo>
                <a:cubicBezTo>
                  <a:pt x="75392" y="77709"/>
                  <a:pt x="77709" y="75392"/>
                  <a:pt x="77709" y="72567"/>
                </a:cubicBezTo>
                <a:lnTo>
                  <a:pt x="77709" y="5142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3" name="Freihandform: Form 1182">
            <a:extLst>
              <a:ext uri="{FF2B5EF4-FFF2-40B4-BE49-F238E27FC236}">
                <a16:creationId xmlns:a16="http://schemas.microsoft.com/office/drawing/2014/main" id="{8A2B68BF-BFA5-BD06-D8B6-7414C510B53E}"/>
              </a:ext>
            </a:extLst>
          </p:cNvPr>
          <p:cNvSpPr/>
          <p:nvPr/>
        </p:nvSpPr>
        <p:spPr>
          <a:xfrm>
            <a:off x="10466660" y="5094488"/>
            <a:ext cx="40991" cy="51275"/>
          </a:xfrm>
          <a:custGeom>
            <a:avLst/>
            <a:gdLst>
              <a:gd name="connsiteX0" fmla="*/ 40991 w 40991"/>
              <a:gd name="connsiteY0" fmla="*/ 20496 h 51275"/>
              <a:gd name="connsiteX1" fmla="*/ 20496 w 40991"/>
              <a:gd name="connsiteY1" fmla="*/ 0 h 51275"/>
              <a:gd name="connsiteX2" fmla="*/ 0 w 40991"/>
              <a:gd name="connsiteY2" fmla="*/ 20496 h 51275"/>
              <a:gd name="connsiteX3" fmla="*/ 0 w 40991"/>
              <a:gd name="connsiteY3" fmla="*/ 30780 h 51275"/>
              <a:gd name="connsiteX4" fmla="*/ 20496 w 40991"/>
              <a:gd name="connsiteY4" fmla="*/ 51275 h 51275"/>
              <a:gd name="connsiteX5" fmla="*/ 40991 w 40991"/>
              <a:gd name="connsiteY5" fmla="*/ 30780 h 51275"/>
              <a:gd name="connsiteX6" fmla="*/ 40991 w 40991"/>
              <a:gd name="connsiteY6" fmla="*/ 20496 h 51275"/>
              <a:gd name="connsiteX7" fmla="*/ 30707 w 40991"/>
              <a:gd name="connsiteY7" fmla="*/ 30780 h 51275"/>
              <a:gd name="connsiteX8" fmla="*/ 20423 w 40991"/>
              <a:gd name="connsiteY8" fmla="*/ 41063 h 51275"/>
              <a:gd name="connsiteX9" fmla="*/ 10139 w 40991"/>
              <a:gd name="connsiteY9" fmla="*/ 30780 h 51275"/>
              <a:gd name="connsiteX10" fmla="*/ 10139 w 40991"/>
              <a:gd name="connsiteY10" fmla="*/ 20496 h 51275"/>
              <a:gd name="connsiteX11" fmla="*/ 20423 w 40991"/>
              <a:gd name="connsiteY11" fmla="*/ 10212 h 51275"/>
              <a:gd name="connsiteX12" fmla="*/ 30707 w 40991"/>
              <a:gd name="connsiteY12" fmla="*/ 20496 h 51275"/>
              <a:gd name="connsiteX13" fmla="*/ 30707 w 40991"/>
              <a:gd name="connsiteY13" fmla="*/ 30780 h 5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991" h="51275">
                <a:moveTo>
                  <a:pt x="40991" y="20496"/>
                </a:moveTo>
                <a:cubicBezTo>
                  <a:pt x="40991" y="9198"/>
                  <a:pt x="31793" y="0"/>
                  <a:pt x="20496" y="0"/>
                </a:cubicBezTo>
                <a:cubicBezTo>
                  <a:pt x="9198" y="0"/>
                  <a:pt x="0" y="9198"/>
                  <a:pt x="0" y="20496"/>
                </a:cubicBezTo>
                <a:lnTo>
                  <a:pt x="0" y="30780"/>
                </a:lnTo>
                <a:cubicBezTo>
                  <a:pt x="0" y="42077"/>
                  <a:pt x="9198" y="51275"/>
                  <a:pt x="20496" y="51275"/>
                </a:cubicBezTo>
                <a:cubicBezTo>
                  <a:pt x="31793" y="51275"/>
                  <a:pt x="40991" y="42077"/>
                  <a:pt x="40991" y="30780"/>
                </a:cubicBezTo>
                <a:lnTo>
                  <a:pt x="40991" y="20496"/>
                </a:lnTo>
                <a:close/>
                <a:moveTo>
                  <a:pt x="30707" y="30780"/>
                </a:moveTo>
                <a:cubicBezTo>
                  <a:pt x="30707" y="36428"/>
                  <a:pt x="26072" y="41063"/>
                  <a:pt x="20423" y="41063"/>
                </a:cubicBezTo>
                <a:cubicBezTo>
                  <a:pt x="14774" y="41063"/>
                  <a:pt x="10139" y="36428"/>
                  <a:pt x="10139" y="30780"/>
                </a:cubicBezTo>
                <a:lnTo>
                  <a:pt x="10139" y="20496"/>
                </a:lnTo>
                <a:cubicBezTo>
                  <a:pt x="10139" y="14847"/>
                  <a:pt x="14774" y="10212"/>
                  <a:pt x="20423" y="10212"/>
                </a:cubicBezTo>
                <a:cubicBezTo>
                  <a:pt x="26072" y="10212"/>
                  <a:pt x="30707" y="14847"/>
                  <a:pt x="30707" y="20496"/>
                </a:cubicBezTo>
                <a:lnTo>
                  <a:pt x="30707" y="30780"/>
                </a:lnTo>
                <a:close/>
              </a:path>
            </a:pathLst>
          </a:custGeom>
          <a:noFill/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4" name="Freihandform: Form 1183">
            <a:extLst>
              <a:ext uri="{FF2B5EF4-FFF2-40B4-BE49-F238E27FC236}">
                <a16:creationId xmlns:a16="http://schemas.microsoft.com/office/drawing/2014/main" id="{96BF89A6-E821-5307-04B4-FF35B09E4264}"/>
              </a:ext>
            </a:extLst>
          </p:cNvPr>
          <p:cNvSpPr/>
          <p:nvPr/>
        </p:nvSpPr>
        <p:spPr>
          <a:xfrm>
            <a:off x="10517920" y="5094447"/>
            <a:ext cx="20510" cy="51315"/>
          </a:xfrm>
          <a:custGeom>
            <a:avLst/>
            <a:gdLst>
              <a:gd name="connsiteX0" fmla="*/ 13124 w 20510"/>
              <a:gd name="connsiteY0" fmla="*/ 548 h 51315"/>
              <a:gd name="connsiteX1" fmla="*/ 2840 w 20510"/>
              <a:gd name="connsiteY1" fmla="*/ 5690 h 51315"/>
              <a:gd name="connsiteX2" fmla="*/ 522 w 20510"/>
              <a:gd name="connsiteY2" fmla="*/ 12570 h 51315"/>
              <a:gd name="connsiteX3" fmla="*/ 7403 w 20510"/>
              <a:gd name="connsiteY3" fmla="*/ 14887 h 51315"/>
              <a:gd name="connsiteX4" fmla="*/ 10227 w 20510"/>
              <a:gd name="connsiteY4" fmla="*/ 13439 h 51315"/>
              <a:gd name="connsiteX5" fmla="*/ 10227 w 20510"/>
              <a:gd name="connsiteY5" fmla="*/ 46174 h 51315"/>
              <a:gd name="connsiteX6" fmla="*/ 15369 w 20510"/>
              <a:gd name="connsiteY6" fmla="*/ 51316 h 51315"/>
              <a:gd name="connsiteX7" fmla="*/ 20511 w 20510"/>
              <a:gd name="connsiteY7" fmla="*/ 46174 h 51315"/>
              <a:gd name="connsiteX8" fmla="*/ 20511 w 20510"/>
              <a:gd name="connsiteY8" fmla="*/ 5110 h 51315"/>
              <a:gd name="connsiteX9" fmla="*/ 18049 w 20510"/>
              <a:gd name="connsiteY9" fmla="*/ 765 h 51315"/>
              <a:gd name="connsiteX10" fmla="*/ 13051 w 20510"/>
              <a:gd name="connsiteY10" fmla="*/ 548 h 51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510" h="51315">
                <a:moveTo>
                  <a:pt x="13124" y="548"/>
                </a:moveTo>
                <a:lnTo>
                  <a:pt x="2840" y="5690"/>
                </a:lnTo>
                <a:cubicBezTo>
                  <a:pt x="305" y="6993"/>
                  <a:pt x="-709" y="10035"/>
                  <a:pt x="522" y="12570"/>
                </a:cubicBezTo>
                <a:cubicBezTo>
                  <a:pt x="1826" y="15105"/>
                  <a:pt x="4868" y="16118"/>
                  <a:pt x="7403" y="14887"/>
                </a:cubicBezTo>
                <a:lnTo>
                  <a:pt x="10227" y="13439"/>
                </a:lnTo>
                <a:lnTo>
                  <a:pt x="10227" y="46174"/>
                </a:lnTo>
                <a:cubicBezTo>
                  <a:pt x="10227" y="48998"/>
                  <a:pt x="12545" y="51316"/>
                  <a:pt x="15369" y="51316"/>
                </a:cubicBezTo>
                <a:cubicBezTo>
                  <a:pt x="18193" y="51316"/>
                  <a:pt x="20511" y="48998"/>
                  <a:pt x="20511" y="46174"/>
                </a:cubicBezTo>
                <a:lnTo>
                  <a:pt x="20511" y="5110"/>
                </a:lnTo>
                <a:cubicBezTo>
                  <a:pt x="20511" y="3300"/>
                  <a:pt x="19569" y="1706"/>
                  <a:pt x="18049" y="765"/>
                </a:cubicBezTo>
                <a:cubicBezTo>
                  <a:pt x="16528" y="-177"/>
                  <a:pt x="14645" y="-249"/>
                  <a:pt x="13051" y="548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5" name="Freihandform: Form 1184">
            <a:extLst>
              <a:ext uri="{FF2B5EF4-FFF2-40B4-BE49-F238E27FC236}">
                <a16:creationId xmlns:a16="http://schemas.microsoft.com/office/drawing/2014/main" id="{313F23CF-91FC-F2FB-EFA6-7E0F58070497}"/>
              </a:ext>
            </a:extLst>
          </p:cNvPr>
          <p:cNvSpPr/>
          <p:nvPr/>
        </p:nvSpPr>
        <p:spPr>
          <a:xfrm>
            <a:off x="10507652" y="5166331"/>
            <a:ext cx="40991" cy="51275"/>
          </a:xfrm>
          <a:custGeom>
            <a:avLst/>
            <a:gdLst>
              <a:gd name="connsiteX0" fmla="*/ 0 w 40991"/>
              <a:gd name="connsiteY0" fmla="*/ 20496 h 51275"/>
              <a:gd name="connsiteX1" fmla="*/ 0 w 40991"/>
              <a:gd name="connsiteY1" fmla="*/ 30780 h 51275"/>
              <a:gd name="connsiteX2" fmla="*/ 20496 w 40991"/>
              <a:gd name="connsiteY2" fmla="*/ 51275 h 51275"/>
              <a:gd name="connsiteX3" fmla="*/ 40991 w 40991"/>
              <a:gd name="connsiteY3" fmla="*/ 30780 h 51275"/>
              <a:gd name="connsiteX4" fmla="*/ 40991 w 40991"/>
              <a:gd name="connsiteY4" fmla="*/ 20496 h 51275"/>
              <a:gd name="connsiteX5" fmla="*/ 20496 w 40991"/>
              <a:gd name="connsiteY5" fmla="*/ 0 h 51275"/>
              <a:gd name="connsiteX6" fmla="*/ 0 w 40991"/>
              <a:gd name="connsiteY6" fmla="*/ 20496 h 51275"/>
              <a:gd name="connsiteX7" fmla="*/ 30780 w 40991"/>
              <a:gd name="connsiteY7" fmla="*/ 20496 h 51275"/>
              <a:gd name="connsiteX8" fmla="*/ 30780 w 40991"/>
              <a:gd name="connsiteY8" fmla="*/ 30780 h 51275"/>
              <a:gd name="connsiteX9" fmla="*/ 20496 w 40991"/>
              <a:gd name="connsiteY9" fmla="*/ 41063 h 51275"/>
              <a:gd name="connsiteX10" fmla="*/ 10212 w 40991"/>
              <a:gd name="connsiteY10" fmla="*/ 30780 h 51275"/>
              <a:gd name="connsiteX11" fmla="*/ 10212 w 40991"/>
              <a:gd name="connsiteY11" fmla="*/ 20496 h 51275"/>
              <a:gd name="connsiteX12" fmla="*/ 20496 w 40991"/>
              <a:gd name="connsiteY12" fmla="*/ 10212 h 51275"/>
              <a:gd name="connsiteX13" fmla="*/ 30780 w 40991"/>
              <a:gd name="connsiteY13" fmla="*/ 20496 h 5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991" h="51275">
                <a:moveTo>
                  <a:pt x="0" y="20496"/>
                </a:moveTo>
                <a:lnTo>
                  <a:pt x="0" y="30780"/>
                </a:lnTo>
                <a:cubicBezTo>
                  <a:pt x="0" y="42077"/>
                  <a:pt x="9198" y="51275"/>
                  <a:pt x="20496" y="51275"/>
                </a:cubicBezTo>
                <a:cubicBezTo>
                  <a:pt x="31793" y="51275"/>
                  <a:pt x="40991" y="42077"/>
                  <a:pt x="40991" y="30780"/>
                </a:cubicBezTo>
                <a:lnTo>
                  <a:pt x="40991" y="20496"/>
                </a:lnTo>
                <a:cubicBezTo>
                  <a:pt x="40991" y="9198"/>
                  <a:pt x="31793" y="0"/>
                  <a:pt x="20496" y="0"/>
                </a:cubicBezTo>
                <a:cubicBezTo>
                  <a:pt x="9198" y="0"/>
                  <a:pt x="0" y="9198"/>
                  <a:pt x="0" y="20496"/>
                </a:cubicBezTo>
                <a:close/>
                <a:moveTo>
                  <a:pt x="30780" y="20496"/>
                </a:moveTo>
                <a:lnTo>
                  <a:pt x="30780" y="30780"/>
                </a:lnTo>
                <a:cubicBezTo>
                  <a:pt x="30780" y="36428"/>
                  <a:pt x="26144" y="41063"/>
                  <a:pt x="20496" y="41063"/>
                </a:cubicBezTo>
                <a:cubicBezTo>
                  <a:pt x="14847" y="41063"/>
                  <a:pt x="10212" y="36428"/>
                  <a:pt x="10212" y="30780"/>
                </a:cubicBezTo>
                <a:lnTo>
                  <a:pt x="10212" y="20496"/>
                </a:lnTo>
                <a:cubicBezTo>
                  <a:pt x="10212" y="14847"/>
                  <a:pt x="14847" y="10212"/>
                  <a:pt x="20496" y="10212"/>
                </a:cubicBezTo>
                <a:cubicBezTo>
                  <a:pt x="26144" y="10212"/>
                  <a:pt x="30780" y="14847"/>
                  <a:pt x="30780" y="20496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6" name="Freihandform: Form 1185">
            <a:extLst>
              <a:ext uri="{FF2B5EF4-FFF2-40B4-BE49-F238E27FC236}">
                <a16:creationId xmlns:a16="http://schemas.microsoft.com/office/drawing/2014/main" id="{6962DE19-961E-8F9C-2059-01918634A9B0}"/>
              </a:ext>
            </a:extLst>
          </p:cNvPr>
          <p:cNvSpPr/>
          <p:nvPr/>
        </p:nvSpPr>
        <p:spPr>
          <a:xfrm>
            <a:off x="10466573" y="5166290"/>
            <a:ext cx="20510" cy="51315"/>
          </a:xfrm>
          <a:custGeom>
            <a:avLst/>
            <a:gdLst>
              <a:gd name="connsiteX0" fmla="*/ 13124 w 20510"/>
              <a:gd name="connsiteY0" fmla="*/ 548 h 51315"/>
              <a:gd name="connsiteX1" fmla="*/ 2840 w 20510"/>
              <a:gd name="connsiteY1" fmla="*/ 5690 h 51315"/>
              <a:gd name="connsiteX2" fmla="*/ 522 w 20510"/>
              <a:gd name="connsiteY2" fmla="*/ 12570 h 51315"/>
              <a:gd name="connsiteX3" fmla="*/ 7403 w 20510"/>
              <a:gd name="connsiteY3" fmla="*/ 14887 h 51315"/>
              <a:gd name="connsiteX4" fmla="*/ 10227 w 20510"/>
              <a:gd name="connsiteY4" fmla="*/ 13439 h 51315"/>
              <a:gd name="connsiteX5" fmla="*/ 10227 w 20510"/>
              <a:gd name="connsiteY5" fmla="*/ 46174 h 51315"/>
              <a:gd name="connsiteX6" fmla="*/ 15369 w 20510"/>
              <a:gd name="connsiteY6" fmla="*/ 51316 h 51315"/>
              <a:gd name="connsiteX7" fmla="*/ 20511 w 20510"/>
              <a:gd name="connsiteY7" fmla="*/ 46174 h 51315"/>
              <a:gd name="connsiteX8" fmla="*/ 20511 w 20510"/>
              <a:gd name="connsiteY8" fmla="*/ 5110 h 51315"/>
              <a:gd name="connsiteX9" fmla="*/ 18049 w 20510"/>
              <a:gd name="connsiteY9" fmla="*/ 765 h 51315"/>
              <a:gd name="connsiteX10" fmla="*/ 13051 w 20510"/>
              <a:gd name="connsiteY10" fmla="*/ 548 h 51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510" h="51315">
                <a:moveTo>
                  <a:pt x="13124" y="548"/>
                </a:moveTo>
                <a:lnTo>
                  <a:pt x="2840" y="5690"/>
                </a:lnTo>
                <a:cubicBezTo>
                  <a:pt x="305" y="6993"/>
                  <a:pt x="-709" y="10035"/>
                  <a:pt x="522" y="12570"/>
                </a:cubicBezTo>
                <a:cubicBezTo>
                  <a:pt x="1826" y="15105"/>
                  <a:pt x="4868" y="16118"/>
                  <a:pt x="7403" y="14887"/>
                </a:cubicBezTo>
                <a:lnTo>
                  <a:pt x="10227" y="13439"/>
                </a:lnTo>
                <a:lnTo>
                  <a:pt x="10227" y="46174"/>
                </a:lnTo>
                <a:cubicBezTo>
                  <a:pt x="10227" y="48998"/>
                  <a:pt x="12545" y="51316"/>
                  <a:pt x="15369" y="51316"/>
                </a:cubicBezTo>
                <a:cubicBezTo>
                  <a:pt x="18193" y="51316"/>
                  <a:pt x="20511" y="48998"/>
                  <a:pt x="20511" y="46174"/>
                </a:cubicBezTo>
                <a:lnTo>
                  <a:pt x="20511" y="5110"/>
                </a:lnTo>
                <a:cubicBezTo>
                  <a:pt x="20511" y="3300"/>
                  <a:pt x="19569" y="1706"/>
                  <a:pt x="18049" y="765"/>
                </a:cubicBezTo>
                <a:cubicBezTo>
                  <a:pt x="16528" y="-177"/>
                  <a:pt x="14645" y="-249"/>
                  <a:pt x="13051" y="548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7" name="Freihandform: Form 1186">
            <a:extLst>
              <a:ext uri="{FF2B5EF4-FFF2-40B4-BE49-F238E27FC236}">
                <a16:creationId xmlns:a16="http://schemas.microsoft.com/office/drawing/2014/main" id="{5371D600-F8B7-5640-84E1-F636D0952480}"/>
              </a:ext>
            </a:extLst>
          </p:cNvPr>
          <p:cNvSpPr/>
          <p:nvPr/>
        </p:nvSpPr>
        <p:spPr>
          <a:xfrm>
            <a:off x="10435809" y="5063636"/>
            <a:ext cx="143685" cy="184749"/>
          </a:xfrm>
          <a:custGeom>
            <a:avLst/>
            <a:gdLst>
              <a:gd name="connsiteX0" fmla="*/ 143686 w 143685"/>
              <a:gd name="connsiteY0" fmla="*/ 179607 h 184749"/>
              <a:gd name="connsiteX1" fmla="*/ 143686 w 143685"/>
              <a:gd name="connsiteY1" fmla="*/ 41063 h 184749"/>
              <a:gd name="connsiteX2" fmla="*/ 142165 w 143685"/>
              <a:gd name="connsiteY2" fmla="*/ 37442 h 184749"/>
              <a:gd name="connsiteX3" fmla="*/ 106244 w 143685"/>
              <a:gd name="connsiteY3" fmla="*/ 1521 h 184749"/>
              <a:gd name="connsiteX4" fmla="*/ 102622 w 143685"/>
              <a:gd name="connsiteY4" fmla="*/ 0 h 184749"/>
              <a:gd name="connsiteX5" fmla="*/ 5142 w 143685"/>
              <a:gd name="connsiteY5" fmla="*/ 0 h 184749"/>
              <a:gd name="connsiteX6" fmla="*/ 0 w 143685"/>
              <a:gd name="connsiteY6" fmla="*/ 5142 h 184749"/>
              <a:gd name="connsiteX7" fmla="*/ 0 w 143685"/>
              <a:gd name="connsiteY7" fmla="*/ 179607 h 184749"/>
              <a:gd name="connsiteX8" fmla="*/ 5142 w 143685"/>
              <a:gd name="connsiteY8" fmla="*/ 184749 h 184749"/>
              <a:gd name="connsiteX9" fmla="*/ 138544 w 143685"/>
              <a:gd name="connsiteY9" fmla="*/ 184749 h 184749"/>
              <a:gd name="connsiteX10" fmla="*/ 143686 w 143685"/>
              <a:gd name="connsiteY10" fmla="*/ 179607 h 184749"/>
              <a:gd name="connsiteX11" fmla="*/ 133402 w 143685"/>
              <a:gd name="connsiteY11" fmla="*/ 174465 h 184749"/>
              <a:gd name="connsiteX12" fmla="*/ 10284 w 143685"/>
              <a:gd name="connsiteY12" fmla="*/ 174465 h 184749"/>
              <a:gd name="connsiteX13" fmla="*/ 10284 w 143685"/>
              <a:gd name="connsiteY13" fmla="*/ 10284 h 184749"/>
              <a:gd name="connsiteX14" fmla="*/ 100522 w 143685"/>
              <a:gd name="connsiteY14" fmla="*/ 10284 h 184749"/>
              <a:gd name="connsiteX15" fmla="*/ 133402 w 143685"/>
              <a:gd name="connsiteY15" fmla="*/ 43164 h 184749"/>
              <a:gd name="connsiteX16" fmla="*/ 133402 w 143685"/>
              <a:gd name="connsiteY16" fmla="*/ 174465 h 184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43685" h="184749">
                <a:moveTo>
                  <a:pt x="143686" y="179607"/>
                </a:moveTo>
                <a:lnTo>
                  <a:pt x="143686" y="41063"/>
                </a:lnTo>
                <a:cubicBezTo>
                  <a:pt x="143686" y="39687"/>
                  <a:pt x="143179" y="38384"/>
                  <a:pt x="142165" y="37442"/>
                </a:cubicBezTo>
                <a:lnTo>
                  <a:pt x="106244" y="1521"/>
                </a:lnTo>
                <a:cubicBezTo>
                  <a:pt x="105302" y="579"/>
                  <a:pt x="103999" y="0"/>
                  <a:pt x="102622" y="0"/>
                </a:cubicBezTo>
                <a:lnTo>
                  <a:pt x="5142" y="0"/>
                </a:lnTo>
                <a:cubicBezTo>
                  <a:pt x="2318" y="0"/>
                  <a:pt x="0" y="2318"/>
                  <a:pt x="0" y="5142"/>
                </a:cubicBezTo>
                <a:lnTo>
                  <a:pt x="0" y="179607"/>
                </a:lnTo>
                <a:cubicBezTo>
                  <a:pt x="0" y="182432"/>
                  <a:pt x="2318" y="184749"/>
                  <a:pt x="5142" y="184749"/>
                </a:cubicBezTo>
                <a:lnTo>
                  <a:pt x="138544" y="184749"/>
                </a:lnTo>
                <a:cubicBezTo>
                  <a:pt x="141368" y="184749"/>
                  <a:pt x="143686" y="182432"/>
                  <a:pt x="143686" y="179607"/>
                </a:cubicBezTo>
                <a:close/>
                <a:moveTo>
                  <a:pt x="133402" y="174465"/>
                </a:moveTo>
                <a:lnTo>
                  <a:pt x="10284" y="174465"/>
                </a:lnTo>
                <a:lnTo>
                  <a:pt x="10284" y="10284"/>
                </a:lnTo>
                <a:lnTo>
                  <a:pt x="100522" y="10284"/>
                </a:lnTo>
                <a:lnTo>
                  <a:pt x="133402" y="43164"/>
                </a:lnTo>
                <a:lnTo>
                  <a:pt x="133402" y="174465"/>
                </a:ln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4" name="Textfeld 309">
            <a:extLst>
              <a:ext uri="{FF2B5EF4-FFF2-40B4-BE49-F238E27FC236}">
                <a16:creationId xmlns:a16="http://schemas.microsoft.com/office/drawing/2014/main" id="{A7D78AC1-4E78-56E7-9E05-91F07CDA82D3}"/>
              </a:ext>
            </a:extLst>
          </p:cNvPr>
          <p:cNvSpPr txBox="1"/>
          <p:nvPr/>
        </p:nvSpPr>
        <p:spPr>
          <a:xfrm>
            <a:off x="10327044" y="5340282"/>
            <a:ext cx="379673" cy="216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Scan</a:t>
            </a:r>
          </a:p>
        </p:txBody>
      </p:sp>
      <p:sp>
        <p:nvSpPr>
          <p:cNvPr id="1195" name="Textfeld 309">
            <a:extLst>
              <a:ext uri="{FF2B5EF4-FFF2-40B4-BE49-F238E27FC236}">
                <a16:creationId xmlns:a16="http://schemas.microsoft.com/office/drawing/2014/main" id="{A7414F4A-73A1-FB2C-ABCB-6584DCD49956}"/>
              </a:ext>
            </a:extLst>
          </p:cNvPr>
          <p:cNvSpPr txBox="1"/>
          <p:nvPr/>
        </p:nvSpPr>
        <p:spPr>
          <a:xfrm>
            <a:off x="9942450" y="5650939"/>
            <a:ext cx="1267486" cy="216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Assembly</a:t>
            </a:r>
          </a:p>
        </p:txBody>
      </p:sp>
      <p:sp>
        <p:nvSpPr>
          <p:cNvPr id="1199" name="Bogen 1198">
            <a:extLst>
              <a:ext uri="{FF2B5EF4-FFF2-40B4-BE49-F238E27FC236}">
                <a16:creationId xmlns:a16="http://schemas.microsoft.com/office/drawing/2014/main" id="{62A51B99-4732-8FA5-23B5-1C315CA9E098}"/>
              </a:ext>
            </a:extLst>
          </p:cNvPr>
          <p:cNvSpPr/>
          <p:nvPr/>
        </p:nvSpPr>
        <p:spPr>
          <a:xfrm rot="19186274" flipV="1">
            <a:off x="10283746" y="5342958"/>
            <a:ext cx="441739" cy="372687"/>
          </a:xfrm>
          <a:custGeom>
            <a:avLst/>
            <a:gdLst>
              <a:gd name="connsiteX0" fmla="*/ 434939 w 441739"/>
              <a:gd name="connsiteY0" fmla="*/ 232226 h 372687"/>
              <a:gd name="connsiteX1" fmla="*/ 196019 w 441739"/>
              <a:gd name="connsiteY1" fmla="*/ 371504 h 372687"/>
              <a:gd name="connsiteX2" fmla="*/ 220870 w 441739"/>
              <a:gd name="connsiteY2" fmla="*/ 186344 h 372687"/>
              <a:gd name="connsiteX3" fmla="*/ 434939 w 441739"/>
              <a:gd name="connsiteY3" fmla="*/ 232226 h 372687"/>
              <a:gd name="connsiteX0" fmla="*/ 434939 w 441739"/>
              <a:gd name="connsiteY0" fmla="*/ 232226 h 372687"/>
              <a:gd name="connsiteX1" fmla="*/ 196019 w 441739"/>
              <a:gd name="connsiteY1" fmla="*/ 371504 h 372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1739" h="372687" stroke="0" extrusionOk="0">
                <a:moveTo>
                  <a:pt x="434939" y="232226"/>
                </a:moveTo>
                <a:cubicBezTo>
                  <a:pt x="413262" y="333328"/>
                  <a:pt x="299605" y="369954"/>
                  <a:pt x="196019" y="371504"/>
                </a:cubicBezTo>
                <a:cubicBezTo>
                  <a:pt x="190178" y="293272"/>
                  <a:pt x="197023" y="273663"/>
                  <a:pt x="220870" y="186344"/>
                </a:cubicBezTo>
                <a:cubicBezTo>
                  <a:pt x="303104" y="206585"/>
                  <a:pt x="395740" y="221293"/>
                  <a:pt x="434939" y="232226"/>
                </a:cubicBezTo>
                <a:close/>
              </a:path>
              <a:path w="441739" h="372687" fill="none" extrusionOk="0">
                <a:moveTo>
                  <a:pt x="434939" y="232226"/>
                </a:moveTo>
                <a:cubicBezTo>
                  <a:pt x="405915" y="321726"/>
                  <a:pt x="305952" y="373759"/>
                  <a:pt x="196019" y="371504"/>
                </a:cubicBezTo>
              </a:path>
            </a:pathLst>
          </a:cu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  <a:headEnd type="triangle" w="sm" len="med"/>
            <a:extLst>
              <a:ext uri="{C807C97D-BFC1-408E-A445-0C87EB9F89A2}">
                <ask:lineSketchStyleProps xmlns:ask="http://schemas.microsoft.com/office/drawing/2018/sketchyshapes" sd="811052655">
                  <a:prstGeom prst="arc">
                    <a:avLst>
                      <a:gd name="adj1" fmla="val 725843"/>
                      <a:gd name="adj2" fmla="val 5858630"/>
                    </a:avLst>
                  </a:prstGeom>
                  <ask:type>
                    <ask:lineSketchCurved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06" name="Textfeld 1205">
            <a:extLst>
              <a:ext uri="{FF2B5EF4-FFF2-40B4-BE49-F238E27FC236}">
                <a16:creationId xmlns:a16="http://schemas.microsoft.com/office/drawing/2014/main" id="{4C7D1372-B2C7-2DEE-63A8-357664BA2A84}"/>
              </a:ext>
            </a:extLst>
          </p:cNvPr>
          <p:cNvSpPr txBox="1"/>
          <p:nvPr/>
        </p:nvSpPr>
        <p:spPr>
          <a:xfrm>
            <a:off x="861014" y="5061340"/>
            <a:ext cx="16149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Devlopment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process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Light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90 kWh HV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Light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PART NUMBER</a:t>
            </a:r>
          </a:p>
        </p:txBody>
      </p:sp>
      <p:sp>
        <p:nvSpPr>
          <p:cNvPr id="1207" name="Rechteck: abgerundete Ecken 244">
            <a:extLst>
              <a:ext uri="{FF2B5EF4-FFF2-40B4-BE49-F238E27FC236}">
                <a16:creationId xmlns:a16="http://schemas.microsoft.com/office/drawing/2014/main" id="{234C7C03-D4CC-9A1E-D503-12A869360D86}"/>
              </a:ext>
            </a:extLst>
          </p:cNvPr>
          <p:cNvSpPr/>
          <p:nvPr/>
        </p:nvSpPr>
        <p:spPr>
          <a:xfrm>
            <a:off x="8914971" y="5072987"/>
            <a:ext cx="1488019" cy="667601"/>
          </a:xfrm>
          <a:prstGeom prst="rect">
            <a:avLst/>
          </a:prstGeom>
          <a:noFill/>
          <a:ln w="19050" cap="flat" cmpd="sng" algn="ctr">
            <a:noFill/>
            <a:prstDash val="dash"/>
            <a:miter lim="800000"/>
            <a:extLst>
              <a:ext uri="{C807C97D-BFC1-408E-A445-0C87EB9F89A2}">
                <ask:lineSketchStyleProps xmlns:ask="http://schemas.microsoft.com/office/drawing/2018/sketchyshapes" sd="3156684292">
                  <a:custGeom>
                    <a:avLst/>
                    <a:gdLst>
                      <a:gd name="connsiteX0" fmla="*/ 0 w 1548000"/>
                      <a:gd name="connsiteY0" fmla="*/ 133883 h 504000"/>
                      <a:gd name="connsiteX1" fmla="*/ 133883 w 1548000"/>
                      <a:gd name="connsiteY1" fmla="*/ 0 h 504000"/>
                      <a:gd name="connsiteX2" fmla="*/ 1414117 w 1548000"/>
                      <a:gd name="connsiteY2" fmla="*/ 0 h 504000"/>
                      <a:gd name="connsiteX3" fmla="*/ 1548000 w 1548000"/>
                      <a:gd name="connsiteY3" fmla="*/ 133883 h 504000"/>
                      <a:gd name="connsiteX4" fmla="*/ 1548000 w 1548000"/>
                      <a:gd name="connsiteY4" fmla="*/ 370117 h 504000"/>
                      <a:gd name="connsiteX5" fmla="*/ 1414117 w 1548000"/>
                      <a:gd name="connsiteY5" fmla="*/ 504000 h 504000"/>
                      <a:gd name="connsiteX6" fmla="*/ 133883 w 1548000"/>
                      <a:gd name="connsiteY6" fmla="*/ 504000 h 504000"/>
                      <a:gd name="connsiteX7" fmla="*/ 0 w 1548000"/>
                      <a:gd name="connsiteY7" fmla="*/ 370117 h 504000"/>
                      <a:gd name="connsiteX8" fmla="*/ 0 w 1548000"/>
                      <a:gd name="connsiteY8" fmla="*/ 133883 h 50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48000" h="504000" extrusionOk="0">
                        <a:moveTo>
                          <a:pt x="0" y="133883"/>
                        </a:moveTo>
                        <a:cubicBezTo>
                          <a:pt x="-4431" y="53384"/>
                          <a:pt x="60983" y="-2260"/>
                          <a:pt x="133883" y="0"/>
                        </a:cubicBezTo>
                        <a:cubicBezTo>
                          <a:pt x="531894" y="56640"/>
                          <a:pt x="818747" y="-85347"/>
                          <a:pt x="1414117" y="0"/>
                        </a:cubicBezTo>
                        <a:cubicBezTo>
                          <a:pt x="1491420" y="12626"/>
                          <a:pt x="1544536" y="51950"/>
                          <a:pt x="1548000" y="133883"/>
                        </a:cubicBezTo>
                        <a:cubicBezTo>
                          <a:pt x="1554121" y="214775"/>
                          <a:pt x="1556187" y="285940"/>
                          <a:pt x="1548000" y="370117"/>
                        </a:cubicBezTo>
                        <a:cubicBezTo>
                          <a:pt x="1540671" y="436783"/>
                          <a:pt x="1499173" y="512360"/>
                          <a:pt x="1414117" y="504000"/>
                        </a:cubicBezTo>
                        <a:cubicBezTo>
                          <a:pt x="1040108" y="569803"/>
                          <a:pt x="563073" y="509364"/>
                          <a:pt x="133883" y="504000"/>
                        </a:cubicBezTo>
                        <a:cubicBezTo>
                          <a:pt x="62237" y="507570"/>
                          <a:pt x="-1686" y="435477"/>
                          <a:pt x="0" y="370117"/>
                        </a:cubicBezTo>
                        <a:cubicBezTo>
                          <a:pt x="18287" y="262851"/>
                          <a:pt x="8309" y="233983"/>
                          <a:pt x="0" y="13388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ExtraBold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roduction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 </a:t>
            </a:r>
            <a:b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</a:br>
            <a:r>
              <a:rPr kumimoji="0" lang="de-DE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rocess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 Light" panose="020B060402020202020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b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</a:b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PART NUMB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SERIAL NUMBER</a:t>
            </a:r>
          </a:p>
        </p:txBody>
      </p:sp>
      <p:cxnSp>
        <p:nvCxnSpPr>
          <p:cNvPr id="1221" name="Gerade Verbindung mit Pfeil 1220">
            <a:extLst>
              <a:ext uri="{FF2B5EF4-FFF2-40B4-BE49-F238E27FC236}">
                <a16:creationId xmlns:a16="http://schemas.microsoft.com/office/drawing/2014/main" id="{47ED83D3-A3CB-8664-D0B3-AC78FCAB8E5E}"/>
              </a:ext>
            </a:extLst>
          </p:cNvPr>
          <p:cNvCxnSpPr>
            <a:cxnSpLocks/>
          </p:cNvCxnSpPr>
          <p:nvPr/>
        </p:nvCxnSpPr>
        <p:spPr>
          <a:xfrm flipV="1">
            <a:off x="10882441" y="3874583"/>
            <a:ext cx="0" cy="1415754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3" name="Rechteck: abgerundete Ecken 244">
            <a:extLst>
              <a:ext uri="{FF2B5EF4-FFF2-40B4-BE49-F238E27FC236}">
                <a16:creationId xmlns:a16="http://schemas.microsoft.com/office/drawing/2014/main" id="{CDE3957E-534D-0559-8F18-06F8687C14C3}"/>
              </a:ext>
            </a:extLst>
          </p:cNvPr>
          <p:cNvSpPr/>
          <p:nvPr/>
        </p:nvSpPr>
        <p:spPr>
          <a:xfrm>
            <a:off x="8937474" y="3370583"/>
            <a:ext cx="1576001" cy="504000"/>
          </a:xfrm>
          <a:prstGeom prst="rect">
            <a:avLst/>
          </a:prstGeom>
          <a:noFill/>
          <a:ln w="19050" cap="flat" cmpd="sng" algn="ctr">
            <a:noFill/>
            <a:prstDash val="dash"/>
            <a:miter lim="800000"/>
            <a:extLst>
              <a:ext uri="{C807C97D-BFC1-408E-A445-0C87EB9F89A2}">
                <ask:lineSketchStyleProps xmlns:ask="http://schemas.microsoft.com/office/drawing/2018/sketchyshapes" sd="3156684292">
                  <a:custGeom>
                    <a:avLst/>
                    <a:gdLst>
                      <a:gd name="connsiteX0" fmla="*/ 0 w 1548000"/>
                      <a:gd name="connsiteY0" fmla="*/ 133883 h 504000"/>
                      <a:gd name="connsiteX1" fmla="*/ 133883 w 1548000"/>
                      <a:gd name="connsiteY1" fmla="*/ 0 h 504000"/>
                      <a:gd name="connsiteX2" fmla="*/ 1414117 w 1548000"/>
                      <a:gd name="connsiteY2" fmla="*/ 0 h 504000"/>
                      <a:gd name="connsiteX3" fmla="*/ 1548000 w 1548000"/>
                      <a:gd name="connsiteY3" fmla="*/ 133883 h 504000"/>
                      <a:gd name="connsiteX4" fmla="*/ 1548000 w 1548000"/>
                      <a:gd name="connsiteY4" fmla="*/ 370117 h 504000"/>
                      <a:gd name="connsiteX5" fmla="*/ 1414117 w 1548000"/>
                      <a:gd name="connsiteY5" fmla="*/ 504000 h 504000"/>
                      <a:gd name="connsiteX6" fmla="*/ 133883 w 1548000"/>
                      <a:gd name="connsiteY6" fmla="*/ 504000 h 504000"/>
                      <a:gd name="connsiteX7" fmla="*/ 0 w 1548000"/>
                      <a:gd name="connsiteY7" fmla="*/ 370117 h 504000"/>
                      <a:gd name="connsiteX8" fmla="*/ 0 w 1548000"/>
                      <a:gd name="connsiteY8" fmla="*/ 133883 h 50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48000" h="504000" extrusionOk="0">
                        <a:moveTo>
                          <a:pt x="0" y="133883"/>
                        </a:moveTo>
                        <a:cubicBezTo>
                          <a:pt x="-4431" y="53384"/>
                          <a:pt x="60983" y="-2260"/>
                          <a:pt x="133883" y="0"/>
                        </a:cubicBezTo>
                        <a:cubicBezTo>
                          <a:pt x="531894" y="56640"/>
                          <a:pt x="818747" y="-85347"/>
                          <a:pt x="1414117" y="0"/>
                        </a:cubicBezTo>
                        <a:cubicBezTo>
                          <a:pt x="1491420" y="12626"/>
                          <a:pt x="1544536" y="51950"/>
                          <a:pt x="1548000" y="133883"/>
                        </a:cubicBezTo>
                        <a:cubicBezTo>
                          <a:pt x="1554121" y="214775"/>
                          <a:pt x="1556187" y="285940"/>
                          <a:pt x="1548000" y="370117"/>
                        </a:cubicBezTo>
                        <a:cubicBezTo>
                          <a:pt x="1540671" y="436783"/>
                          <a:pt x="1499173" y="512360"/>
                          <a:pt x="1414117" y="504000"/>
                        </a:cubicBezTo>
                        <a:cubicBezTo>
                          <a:pt x="1040108" y="569803"/>
                          <a:pt x="563073" y="509364"/>
                          <a:pt x="133883" y="504000"/>
                        </a:cubicBezTo>
                        <a:cubicBezTo>
                          <a:pt x="62237" y="507570"/>
                          <a:pt x="-1686" y="435477"/>
                          <a:pt x="0" y="370117"/>
                        </a:cubicBezTo>
                        <a:cubicBezTo>
                          <a:pt x="18287" y="262851"/>
                          <a:pt x="8309" y="233983"/>
                          <a:pt x="0" y="13388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ART NUMBER   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5A526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SERIAL NUMBER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AB1235509</a:t>
            </a:r>
          </a:p>
        </p:txBody>
      </p:sp>
      <p:sp>
        <p:nvSpPr>
          <p:cNvPr id="1224" name="Rechteck: abgerundete Ecken 244">
            <a:extLst>
              <a:ext uri="{FF2B5EF4-FFF2-40B4-BE49-F238E27FC236}">
                <a16:creationId xmlns:a16="http://schemas.microsoft.com/office/drawing/2014/main" id="{7E875DF2-6F0C-55E1-FFCF-71CBE18E2CB4}"/>
              </a:ext>
            </a:extLst>
          </p:cNvPr>
          <p:cNvSpPr/>
          <p:nvPr/>
        </p:nvSpPr>
        <p:spPr>
          <a:xfrm>
            <a:off x="867581" y="3330088"/>
            <a:ext cx="1576001" cy="504000"/>
          </a:xfrm>
          <a:prstGeom prst="rect">
            <a:avLst/>
          </a:prstGeom>
          <a:noFill/>
          <a:ln w="19050" cap="flat" cmpd="sng" algn="ctr">
            <a:noFill/>
            <a:prstDash val="dash"/>
            <a:miter lim="800000"/>
            <a:extLst>
              <a:ext uri="{C807C97D-BFC1-408E-A445-0C87EB9F89A2}">
                <ask:lineSketchStyleProps xmlns:ask="http://schemas.microsoft.com/office/drawing/2018/sketchyshapes" sd="3156684292">
                  <a:custGeom>
                    <a:avLst/>
                    <a:gdLst>
                      <a:gd name="connsiteX0" fmla="*/ 0 w 1548000"/>
                      <a:gd name="connsiteY0" fmla="*/ 133883 h 504000"/>
                      <a:gd name="connsiteX1" fmla="*/ 133883 w 1548000"/>
                      <a:gd name="connsiteY1" fmla="*/ 0 h 504000"/>
                      <a:gd name="connsiteX2" fmla="*/ 1414117 w 1548000"/>
                      <a:gd name="connsiteY2" fmla="*/ 0 h 504000"/>
                      <a:gd name="connsiteX3" fmla="*/ 1548000 w 1548000"/>
                      <a:gd name="connsiteY3" fmla="*/ 133883 h 504000"/>
                      <a:gd name="connsiteX4" fmla="*/ 1548000 w 1548000"/>
                      <a:gd name="connsiteY4" fmla="*/ 370117 h 504000"/>
                      <a:gd name="connsiteX5" fmla="*/ 1414117 w 1548000"/>
                      <a:gd name="connsiteY5" fmla="*/ 504000 h 504000"/>
                      <a:gd name="connsiteX6" fmla="*/ 133883 w 1548000"/>
                      <a:gd name="connsiteY6" fmla="*/ 504000 h 504000"/>
                      <a:gd name="connsiteX7" fmla="*/ 0 w 1548000"/>
                      <a:gd name="connsiteY7" fmla="*/ 370117 h 504000"/>
                      <a:gd name="connsiteX8" fmla="*/ 0 w 1548000"/>
                      <a:gd name="connsiteY8" fmla="*/ 133883 h 50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48000" h="504000" extrusionOk="0">
                        <a:moveTo>
                          <a:pt x="0" y="133883"/>
                        </a:moveTo>
                        <a:cubicBezTo>
                          <a:pt x="-4431" y="53384"/>
                          <a:pt x="60983" y="-2260"/>
                          <a:pt x="133883" y="0"/>
                        </a:cubicBezTo>
                        <a:cubicBezTo>
                          <a:pt x="531894" y="56640"/>
                          <a:pt x="818747" y="-85347"/>
                          <a:pt x="1414117" y="0"/>
                        </a:cubicBezTo>
                        <a:cubicBezTo>
                          <a:pt x="1491420" y="12626"/>
                          <a:pt x="1544536" y="51950"/>
                          <a:pt x="1548000" y="133883"/>
                        </a:cubicBezTo>
                        <a:cubicBezTo>
                          <a:pt x="1554121" y="214775"/>
                          <a:pt x="1556187" y="285940"/>
                          <a:pt x="1548000" y="370117"/>
                        </a:cubicBezTo>
                        <a:cubicBezTo>
                          <a:pt x="1540671" y="436783"/>
                          <a:pt x="1499173" y="512360"/>
                          <a:pt x="1414117" y="504000"/>
                        </a:cubicBezTo>
                        <a:cubicBezTo>
                          <a:pt x="1040108" y="569803"/>
                          <a:pt x="563073" y="509364"/>
                          <a:pt x="133883" y="504000"/>
                        </a:cubicBezTo>
                        <a:cubicBezTo>
                          <a:pt x="62237" y="507570"/>
                          <a:pt x="-1686" y="435477"/>
                          <a:pt x="0" y="370117"/>
                        </a:cubicBezTo>
                        <a:cubicBezTo>
                          <a:pt x="18287" y="262851"/>
                          <a:pt x="8309" y="233983"/>
                          <a:pt x="0" y="13388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ART NUMBER   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5A52625</a:t>
            </a:r>
            <a:b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</a:b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 Light" panose="020B0604020202020204" charset="0"/>
              <a:ea typeface="+mn-ea"/>
              <a:cs typeface="+mn-cs"/>
            </a:endParaRPr>
          </a:p>
        </p:txBody>
      </p:sp>
      <p:sp>
        <p:nvSpPr>
          <p:cNvPr id="1225" name="Rechteck: abgerundete Ecken 25">
            <a:extLst>
              <a:ext uri="{FF2B5EF4-FFF2-40B4-BE49-F238E27FC236}">
                <a16:creationId xmlns:a16="http://schemas.microsoft.com/office/drawing/2014/main" id="{9D879613-1B61-4E2D-7861-18B67548AA89}"/>
              </a:ext>
            </a:extLst>
          </p:cNvPr>
          <p:cNvSpPr/>
          <p:nvPr/>
        </p:nvSpPr>
        <p:spPr>
          <a:xfrm>
            <a:off x="8848986" y="3044169"/>
            <a:ext cx="481940" cy="498910"/>
          </a:xfrm>
          <a:custGeom>
            <a:avLst/>
            <a:gdLst>
              <a:gd name="connsiteX0" fmla="*/ 0 w 2401645"/>
              <a:gd name="connsiteY0" fmla="*/ 107716 h 1305332"/>
              <a:gd name="connsiteX1" fmla="*/ 107716 w 2401645"/>
              <a:gd name="connsiteY1" fmla="*/ 0 h 1305332"/>
              <a:gd name="connsiteX2" fmla="*/ 2293929 w 2401645"/>
              <a:gd name="connsiteY2" fmla="*/ 0 h 1305332"/>
              <a:gd name="connsiteX3" fmla="*/ 2401645 w 2401645"/>
              <a:gd name="connsiteY3" fmla="*/ 107716 h 1305332"/>
              <a:gd name="connsiteX4" fmla="*/ 2401645 w 2401645"/>
              <a:gd name="connsiteY4" fmla="*/ 1197616 h 1305332"/>
              <a:gd name="connsiteX5" fmla="*/ 2293929 w 2401645"/>
              <a:gd name="connsiteY5" fmla="*/ 1305332 h 1305332"/>
              <a:gd name="connsiteX6" fmla="*/ 107716 w 2401645"/>
              <a:gd name="connsiteY6" fmla="*/ 1305332 h 1305332"/>
              <a:gd name="connsiteX7" fmla="*/ 0 w 2401645"/>
              <a:gd name="connsiteY7" fmla="*/ 1197616 h 1305332"/>
              <a:gd name="connsiteX8" fmla="*/ 0 w 2401645"/>
              <a:gd name="connsiteY8" fmla="*/ 107716 h 1305332"/>
              <a:gd name="connsiteX0" fmla="*/ 0 w 2401645"/>
              <a:gd name="connsiteY0" fmla="*/ 107750 h 1305366"/>
              <a:gd name="connsiteX1" fmla="*/ 107716 w 2401645"/>
              <a:gd name="connsiteY1" fmla="*/ 34 h 1305366"/>
              <a:gd name="connsiteX2" fmla="*/ 449081 w 2401645"/>
              <a:gd name="connsiteY2" fmla="*/ 0 h 1305366"/>
              <a:gd name="connsiteX3" fmla="*/ 2293929 w 2401645"/>
              <a:gd name="connsiteY3" fmla="*/ 34 h 1305366"/>
              <a:gd name="connsiteX4" fmla="*/ 2401645 w 2401645"/>
              <a:gd name="connsiteY4" fmla="*/ 107750 h 1305366"/>
              <a:gd name="connsiteX5" fmla="*/ 2401645 w 2401645"/>
              <a:gd name="connsiteY5" fmla="*/ 1197650 h 1305366"/>
              <a:gd name="connsiteX6" fmla="*/ 2293929 w 2401645"/>
              <a:gd name="connsiteY6" fmla="*/ 1305366 h 1305366"/>
              <a:gd name="connsiteX7" fmla="*/ 107716 w 2401645"/>
              <a:gd name="connsiteY7" fmla="*/ 1305366 h 1305366"/>
              <a:gd name="connsiteX8" fmla="*/ 0 w 2401645"/>
              <a:gd name="connsiteY8" fmla="*/ 1197650 h 1305366"/>
              <a:gd name="connsiteX9" fmla="*/ 0 w 2401645"/>
              <a:gd name="connsiteY9" fmla="*/ 107750 h 1305366"/>
              <a:gd name="connsiteX0" fmla="*/ 1769 w 2403414"/>
              <a:gd name="connsiteY0" fmla="*/ 107750 h 1305366"/>
              <a:gd name="connsiteX1" fmla="*/ 109485 w 2403414"/>
              <a:gd name="connsiteY1" fmla="*/ 34 h 1305366"/>
              <a:gd name="connsiteX2" fmla="*/ 450850 w 2403414"/>
              <a:gd name="connsiteY2" fmla="*/ 0 h 1305366"/>
              <a:gd name="connsiteX3" fmla="*/ 2295698 w 2403414"/>
              <a:gd name="connsiteY3" fmla="*/ 34 h 1305366"/>
              <a:gd name="connsiteX4" fmla="*/ 2403414 w 2403414"/>
              <a:gd name="connsiteY4" fmla="*/ 107750 h 1305366"/>
              <a:gd name="connsiteX5" fmla="*/ 2403414 w 2403414"/>
              <a:gd name="connsiteY5" fmla="*/ 1197650 h 1305366"/>
              <a:gd name="connsiteX6" fmla="*/ 2295698 w 2403414"/>
              <a:gd name="connsiteY6" fmla="*/ 1305366 h 1305366"/>
              <a:gd name="connsiteX7" fmla="*/ 109485 w 2403414"/>
              <a:gd name="connsiteY7" fmla="*/ 1305366 h 1305366"/>
              <a:gd name="connsiteX8" fmla="*/ 1769 w 2403414"/>
              <a:gd name="connsiteY8" fmla="*/ 1197650 h 1305366"/>
              <a:gd name="connsiteX9" fmla="*/ 0 w 2403414"/>
              <a:gd name="connsiteY9" fmla="*/ 466725 h 1305366"/>
              <a:gd name="connsiteX10" fmla="*/ 1769 w 2403414"/>
              <a:gd name="connsiteY10" fmla="*/ 107750 h 1305366"/>
              <a:gd name="connsiteX0" fmla="*/ 1769 w 2403414"/>
              <a:gd name="connsiteY0" fmla="*/ 107750 h 1305366"/>
              <a:gd name="connsiteX1" fmla="*/ 109485 w 2403414"/>
              <a:gd name="connsiteY1" fmla="*/ 34 h 1305366"/>
              <a:gd name="connsiteX2" fmla="*/ 450850 w 2403414"/>
              <a:gd name="connsiteY2" fmla="*/ 0 h 1305366"/>
              <a:gd name="connsiteX3" fmla="*/ 2295698 w 2403414"/>
              <a:gd name="connsiteY3" fmla="*/ 34 h 1305366"/>
              <a:gd name="connsiteX4" fmla="*/ 2403414 w 2403414"/>
              <a:gd name="connsiteY4" fmla="*/ 107750 h 1305366"/>
              <a:gd name="connsiteX5" fmla="*/ 2403414 w 2403414"/>
              <a:gd name="connsiteY5" fmla="*/ 1197650 h 1305366"/>
              <a:gd name="connsiteX6" fmla="*/ 2295698 w 2403414"/>
              <a:gd name="connsiteY6" fmla="*/ 1305366 h 1305366"/>
              <a:gd name="connsiteX7" fmla="*/ 109485 w 2403414"/>
              <a:gd name="connsiteY7" fmla="*/ 1305366 h 1305366"/>
              <a:gd name="connsiteX8" fmla="*/ 1769 w 2403414"/>
              <a:gd name="connsiteY8" fmla="*/ 1197650 h 1305366"/>
              <a:gd name="connsiteX9" fmla="*/ 0 w 2403414"/>
              <a:gd name="connsiteY9" fmla="*/ 466725 h 1305366"/>
              <a:gd name="connsiteX10" fmla="*/ 1769 w 2403414"/>
              <a:gd name="connsiteY10" fmla="*/ 107750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9" fmla="*/ 1769 w 2403414"/>
              <a:gd name="connsiteY9" fmla="*/ 1197650 h 1305366"/>
              <a:gd name="connsiteX10" fmla="*/ 91440 w 2403414"/>
              <a:gd name="connsiteY10" fmla="*/ 558165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9" fmla="*/ 1769 w 2403414"/>
              <a:gd name="connsiteY9" fmla="*/ 1197650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0" fmla="*/ 0 w 2403414"/>
              <a:gd name="connsiteY0" fmla="*/ 466725 h 1197650"/>
              <a:gd name="connsiteX1" fmla="*/ 1769 w 2403414"/>
              <a:gd name="connsiteY1" fmla="*/ 107750 h 1197650"/>
              <a:gd name="connsiteX2" fmla="*/ 109485 w 2403414"/>
              <a:gd name="connsiteY2" fmla="*/ 34 h 1197650"/>
              <a:gd name="connsiteX3" fmla="*/ 450850 w 2403414"/>
              <a:gd name="connsiteY3" fmla="*/ 0 h 1197650"/>
              <a:gd name="connsiteX4" fmla="*/ 2295698 w 2403414"/>
              <a:gd name="connsiteY4" fmla="*/ 34 h 1197650"/>
              <a:gd name="connsiteX5" fmla="*/ 2403414 w 2403414"/>
              <a:gd name="connsiteY5" fmla="*/ 107750 h 1197650"/>
              <a:gd name="connsiteX6" fmla="*/ 2403414 w 2403414"/>
              <a:gd name="connsiteY6" fmla="*/ 1197650 h 1197650"/>
              <a:gd name="connsiteX0" fmla="*/ 0 w 2403414"/>
              <a:gd name="connsiteY0" fmla="*/ 466725 h 466725"/>
              <a:gd name="connsiteX1" fmla="*/ 1769 w 2403414"/>
              <a:gd name="connsiteY1" fmla="*/ 107750 h 466725"/>
              <a:gd name="connsiteX2" fmla="*/ 109485 w 2403414"/>
              <a:gd name="connsiteY2" fmla="*/ 34 h 466725"/>
              <a:gd name="connsiteX3" fmla="*/ 450850 w 2403414"/>
              <a:gd name="connsiteY3" fmla="*/ 0 h 466725"/>
              <a:gd name="connsiteX4" fmla="*/ 2295698 w 2403414"/>
              <a:gd name="connsiteY4" fmla="*/ 34 h 466725"/>
              <a:gd name="connsiteX5" fmla="*/ 2403414 w 2403414"/>
              <a:gd name="connsiteY5" fmla="*/ 107750 h 466725"/>
              <a:gd name="connsiteX0" fmla="*/ 0 w 2295698"/>
              <a:gd name="connsiteY0" fmla="*/ 466725 h 466725"/>
              <a:gd name="connsiteX1" fmla="*/ 1769 w 2295698"/>
              <a:gd name="connsiteY1" fmla="*/ 107750 h 466725"/>
              <a:gd name="connsiteX2" fmla="*/ 109485 w 2295698"/>
              <a:gd name="connsiteY2" fmla="*/ 34 h 466725"/>
              <a:gd name="connsiteX3" fmla="*/ 450850 w 2295698"/>
              <a:gd name="connsiteY3" fmla="*/ 0 h 466725"/>
              <a:gd name="connsiteX4" fmla="*/ 2295698 w 2295698"/>
              <a:gd name="connsiteY4" fmla="*/ 34 h 466725"/>
              <a:gd name="connsiteX0" fmla="*/ 0 w 450850"/>
              <a:gd name="connsiteY0" fmla="*/ 466725 h 466725"/>
              <a:gd name="connsiteX1" fmla="*/ 1769 w 450850"/>
              <a:gd name="connsiteY1" fmla="*/ 107750 h 466725"/>
              <a:gd name="connsiteX2" fmla="*/ 109485 w 450850"/>
              <a:gd name="connsiteY2" fmla="*/ 34 h 466725"/>
              <a:gd name="connsiteX3" fmla="*/ 450850 w 450850"/>
              <a:gd name="connsiteY3" fmla="*/ 0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850" h="466725">
                <a:moveTo>
                  <a:pt x="0" y="466725"/>
                </a:moveTo>
                <a:cubicBezTo>
                  <a:pt x="590" y="347067"/>
                  <a:pt x="1179" y="227408"/>
                  <a:pt x="1769" y="107750"/>
                </a:cubicBezTo>
                <a:cubicBezTo>
                  <a:pt x="1769" y="48260"/>
                  <a:pt x="49995" y="34"/>
                  <a:pt x="109485" y="34"/>
                </a:cubicBezTo>
                <a:lnTo>
                  <a:pt x="450850" y="0"/>
                </a:lnTo>
              </a:path>
            </a:pathLst>
          </a:custGeom>
          <a:ln cap="rnd">
            <a:solidFill>
              <a:srgbClr val="B4CC2D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6" name="Rechteck: abgerundete Ecken 25">
            <a:extLst>
              <a:ext uri="{FF2B5EF4-FFF2-40B4-BE49-F238E27FC236}">
                <a16:creationId xmlns:a16="http://schemas.microsoft.com/office/drawing/2014/main" id="{9E6153BB-4B06-2156-AF61-4D057ABB901A}"/>
              </a:ext>
            </a:extLst>
          </p:cNvPr>
          <p:cNvSpPr/>
          <p:nvPr/>
        </p:nvSpPr>
        <p:spPr>
          <a:xfrm>
            <a:off x="8792473" y="2983993"/>
            <a:ext cx="481940" cy="498910"/>
          </a:xfrm>
          <a:custGeom>
            <a:avLst/>
            <a:gdLst>
              <a:gd name="connsiteX0" fmla="*/ 0 w 2401645"/>
              <a:gd name="connsiteY0" fmla="*/ 107716 h 1305332"/>
              <a:gd name="connsiteX1" fmla="*/ 107716 w 2401645"/>
              <a:gd name="connsiteY1" fmla="*/ 0 h 1305332"/>
              <a:gd name="connsiteX2" fmla="*/ 2293929 w 2401645"/>
              <a:gd name="connsiteY2" fmla="*/ 0 h 1305332"/>
              <a:gd name="connsiteX3" fmla="*/ 2401645 w 2401645"/>
              <a:gd name="connsiteY3" fmla="*/ 107716 h 1305332"/>
              <a:gd name="connsiteX4" fmla="*/ 2401645 w 2401645"/>
              <a:gd name="connsiteY4" fmla="*/ 1197616 h 1305332"/>
              <a:gd name="connsiteX5" fmla="*/ 2293929 w 2401645"/>
              <a:gd name="connsiteY5" fmla="*/ 1305332 h 1305332"/>
              <a:gd name="connsiteX6" fmla="*/ 107716 w 2401645"/>
              <a:gd name="connsiteY6" fmla="*/ 1305332 h 1305332"/>
              <a:gd name="connsiteX7" fmla="*/ 0 w 2401645"/>
              <a:gd name="connsiteY7" fmla="*/ 1197616 h 1305332"/>
              <a:gd name="connsiteX8" fmla="*/ 0 w 2401645"/>
              <a:gd name="connsiteY8" fmla="*/ 107716 h 1305332"/>
              <a:gd name="connsiteX0" fmla="*/ 0 w 2401645"/>
              <a:gd name="connsiteY0" fmla="*/ 107750 h 1305366"/>
              <a:gd name="connsiteX1" fmla="*/ 107716 w 2401645"/>
              <a:gd name="connsiteY1" fmla="*/ 34 h 1305366"/>
              <a:gd name="connsiteX2" fmla="*/ 449081 w 2401645"/>
              <a:gd name="connsiteY2" fmla="*/ 0 h 1305366"/>
              <a:gd name="connsiteX3" fmla="*/ 2293929 w 2401645"/>
              <a:gd name="connsiteY3" fmla="*/ 34 h 1305366"/>
              <a:gd name="connsiteX4" fmla="*/ 2401645 w 2401645"/>
              <a:gd name="connsiteY4" fmla="*/ 107750 h 1305366"/>
              <a:gd name="connsiteX5" fmla="*/ 2401645 w 2401645"/>
              <a:gd name="connsiteY5" fmla="*/ 1197650 h 1305366"/>
              <a:gd name="connsiteX6" fmla="*/ 2293929 w 2401645"/>
              <a:gd name="connsiteY6" fmla="*/ 1305366 h 1305366"/>
              <a:gd name="connsiteX7" fmla="*/ 107716 w 2401645"/>
              <a:gd name="connsiteY7" fmla="*/ 1305366 h 1305366"/>
              <a:gd name="connsiteX8" fmla="*/ 0 w 2401645"/>
              <a:gd name="connsiteY8" fmla="*/ 1197650 h 1305366"/>
              <a:gd name="connsiteX9" fmla="*/ 0 w 2401645"/>
              <a:gd name="connsiteY9" fmla="*/ 107750 h 1305366"/>
              <a:gd name="connsiteX0" fmla="*/ 1769 w 2403414"/>
              <a:gd name="connsiteY0" fmla="*/ 107750 h 1305366"/>
              <a:gd name="connsiteX1" fmla="*/ 109485 w 2403414"/>
              <a:gd name="connsiteY1" fmla="*/ 34 h 1305366"/>
              <a:gd name="connsiteX2" fmla="*/ 450850 w 2403414"/>
              <a:gd name="connsiteY2" fmla="*/ 0 h 1305366"/>
              <a:gd name="connsiteX3" fmla="*/ 2295698 w 2403414"/>
              <a:gd name="connsiteY3" fmla="*/ 34 h 1305366"/>
              <a:gd name="connsiteX4" fmla="*/ 2403414 w 2403414"/>
              <a:gd name="connsiteY4" fmla="*/ 107750 h 1305366"/>
              <a:gd name="connsiteX5" fmla="*/ 2403414 w 2403414"/>
              <a:gd name="connsiteY5" fmla="*/ 1197650 h 1305366"/>
              <a:gd name="connsiteX6" fmla="*/ 2295698 w 2403414"/>
              <a:gd name="connsiteY6" fmla="*/ 1305366 h 1305366"/>
              <a:gd name="connsiteX7" fmla="*/ 109485 w 2403414"/>
              <a:gd name="connsiteY7" fmla="*/ 1305366 h 1305366"/>
              <a:gd name="connsiteX8" fmla="*/ 1769 w 2403414"/>
              <a:gd name="connsiteY8" fmla="*/ 1197650 h 1305366"/>
              <a:gd name="connsiteX9" fmla="*/ 0 w 2403414"/>
              <a:gd name="connsiteY9" fmla="*/ 466725 h 1305366"/>
              <a:gd name="connsiteX10" fmla="*/ 1769 w 2403414"/>
              <a:gd name="connsiteY10" fmla="*/ 107750 h 1305366"/>
              <a:gd name="connsiteX0" fmla="*/ 1769 w 2403414"/>
              <a:gd name="connsiteY0" fmla="*/ 107750 h 1305366"/>
              <a:gd name="connsiteX1" fmla="*/ 109485 w 2403414"/>
              <a:gd name="connsiteY1" fmla="*/ 34 h 1305366"/>
              <a:gd name="connsiteX2" fmla="*/ 450850 w 2403414"/>
              <a:gd name="connsiteY2" fmla="*/ 0 h 1305366"/>
              <a:gd name="connsiteX3" fmla="*/ 2295698 w 2403414"/>
              <a:gd name="connsiteY3" fmla="*/ 34 h 1305366"/>
              <a:gd name="connsiteX4" fmla="*/ 2403414 w 2403414"/>
              <a:gd name="connsiteY4" fmla="*/ 107750 h 1305366"/>
              <a:gd name="connsiteX5" fmla="*/ 2403414 w 2403414"/>
              <a:gd name="connsiteY5" fmla="*/ 1197650 h 1305366"/>
              <a:gd name="connsiteX6" fmla="*/ 2295698 w 2403414"/>
              <a:gd name="connsiteY6" fmla="*/ 1305366 h 1305366"/>
              <a:gd name="connsiteX7" fmla="*/ 109485 w 2403414"/>
              <a:gd name="connsiteY7" fmla="*/ 1305366 h 1305366"/>
              <a:gd name="connsiteX8" fmla="*/ 1769 w 2403414"/>
              <a:gd name="connsiteY8" fmla="*/ 1197650 h 1305366"/>
              <a:gd name="connsiteX9" fmla="*/ 0 w 2403414"/>
              <a:gd name="connsiteY9" fmla="*/ 466725 h 1305366"/>
              <a:gd name="connsiteX10" fmla="*/ 1769 w 2403414"/>
              <a:gd name="connsiteY10" fmla="*/ 107750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9" fmla="*/ 1769 w 2403414"/>
              <a:gd name="connsiteY9" fmla="*/ 1197650 h 1305366"/>
              <a:gd name="connsiteX10" fmla="*/ 91440 w 2403414"/>
              <a:gd name="connsiteY10" fmla="*/ 558165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9" fmla="*/ 1769 w 2403414"/>
              <a:gd name="connsiteY9" fmla="*/ 1197650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8" fmla="*/ 109485 w 2403414"/>
              <a:gd name="connsiteY8" fmla="*/ 1305366 h 1305366"/>
              <a:gd name="connsiteX0" fmla="*/ 0 w 2403414"/>
              <a:gd name="connsiteY0" fmla="*/ 466725 h 1305366"/>
              <a:gd name="connsiteX1" fmla="*/ 1769 w 2403414"/>
              <a:gd name="connsiteY1" fmla="*/ 107750 h 1305366"/>
              <a:gd name="connsiteX2" fmla="*/ 109485 w 2403414"/>
              <a:gd name="connsiteY2" fmla="*/ 34 h 1305366"/>
              <a:gd name="connsiteX3" fmla="*/ 450850 w 2403414"/>
              <a:gd name="connsiteY3" fmla="*/ 0 h 1305366"/>
              <a:gd name="connsiteX4" fmla="*/ 2295698 w 2403414"/>
              <a:gd name="connsiteY4" fmla="*/ 34 h 1305366"/>
              <a:gd name="connsiteX5" fmla="*/ 2403414 w 2403414"/>
              <a:gd name="connsiteY5" fmla="*/ 107750 h 1305366"/>
              <a:gd name="connsiteX6" fmla="*/ 2403414 w 2403414"/>
              <a:gd name="connsiteY6" fmla="*/ 1197650 h 1305366"/>
              <a:gd name="connsiteX7" fmla="*/ 2295698 w 2403414"/>
              <a:gd name="connsiteY7" fmla="*/ 1305366 h 1305366"/>
              <a:gd name="connsiteX0" fmla="*/ 0 w 2403414"/>
              <a:gd name="connsiteY0" fmla="*/ 466725 h 1197650"/>
              <a:gd name="connsiteX1" fmla="*/ 1769 w 2403414"/>
              <a:gd name="connsiteY1" fmla="*/ 107750 h 1197650"/>
              <a:gd name="connsiteX2" fmla="*/ 109485 w 2403414"/>
              <a:gd name="connsiteY2" fmla="*/ 34 h 1197650"/>
              <a:gd name="connsiteX3" fmla="*/ 450850 w 2403414"/>
              <a:gd name="connsiteY3" fmla="*/ 0 h 1197650"/>
              <a:gd name="connsiteX4" fmla="*/ 2295698 w 2403414"/>
              <a:gd name="connsiteY4" fmla="*/ 34 h 1197650"/>
              <a:gd name="connsiteX5" fmla="*/ 2403414 w 2403414"/>
              <a:gd name="connsiteY5" fmla="*/ 107750 h 1197650"/>
              <a:gd name="connsiteX6" fmla="*/ 2403414 w 2403414"/>
              <a:gd name="connsiteY6" fmla="*/ 1197650 h 1197650"/>
              <a:gd name="connsiteX0" fmla="*/ 0 w 2403414"/>
              <a:gd name="connsiteY0" fmla="*/ 466725 h 466725"/>
              <a:gd name="connsiteX1" fmla="*/ 1769 w 2403414"/>
              <a:gd name="connsiteY1" fmla="*/ 107750 h 466725"/>
              <a:gd name="connsiteX2" fmla="*/ 109485 w 2403414"/>
              <a:gd name="connsiteY2" fmla="*/ 34 h 466725"/>
              <a:gd name="connsiteX3" fmla="*/ 450850 w 2403414"/>
              <a:gd name="connsiteY3" fmla="*/ 0 h 466725"/>
              <a:gd name="connsiteX4" fmla="*/ 2295698 w 2403414"/>
              <a:gd name="connsiteY4" fmla="*/ 34 h 466725"/>
              <a:gd name="connsiteX5" fmla="*/ 2403414 w 2403414"/>
              <a:gd name="connsiteY5" fmla="*/ 107750 h 466725"/>
              <a:gd name="connsiteX0" fmla="*/ 0 w 2295698"/>
              <a:gd name="connsiteY0" fmla="*/ 466725 h 466725"/>
              <a:gd name="connsiteX1" fmla="*/ 1769 w 2295698"/>
              <a:gd name="connsiteY1" fmla="*/ 107750 h 466725"/>
              <a:gd name="connsiteX2" fmla="*/ 109485 w 2295698"/>
              <a:gd name="connsiteY2" fmla="*/ 34 h 466725"/>
              <a:gd name="connsiteX3" fmla="*/ 450850 w 2295698"/>
              <a:gd name="connsiteY3" fmla="*/ 0 h 466725"/>
              <a:gd name="connsiteX4" fmla="*/ 2295698 w 2295698"/>
              <a:gd name="connsiteY4" fmla="*/ 34 h 466725"/>
              <a:gd name="connsiteX0" fmla="*/ 0 w 450850"/>
              <a:gd name="connsiteY0" fmla="*/ 466725 h 466725"/>
              <a:gd name="connsiteX1" fmla="*/ 1769 w 450850"/>
              <a:gd name="connsiteY1" fmla="*/ 107750 h 466725"/>
              <a:gd name="connsiteX2" fmla="*/ 109485 w 450850"/>
              <a:gd name="connsiteY2" fmla="*/ 34 h 466725"/>
              <a:gd name="connsiteX3" fmla="*/ 450850 w 450850"/>
              <a:gd name="connsiteY3" fmla="*/ 0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850" h="466725">
                <a:moveTo>
                  <a:pt x="0" y="466725"/>
                </a:moveTo>
                <a:cubicBezTo>
                  <a:pt x="590" y="347067"/>
                  <a:pt x="1179" y="227408"/>
                  <a:pt x="1769" y="107750"/>
                </a:cubicBezTo>
                <a:cubicBezTo>
                  <a:pt x="1769" y="48260"/>
                  <a:pt x="49995" y="34"/>
                  <a:pt x="109485" y="34"/>
                </a:cubicBezTo>
                <a:lnTo>
                  <a:pt x="450850" y="0"/>
                </a:lnTo>
              </a:path>
            </a:pathLst>
          </a:custGeom>
          <a:ln cap="rnd">
            <a:solidFill>
              <a:srgbClr val="B4CC2D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9" name="Textfeld 1228">
            <a:extLst>
              <a:ext uri="{FF2B5EF4-FFF2-40B4-BE49-F238E27FC236}">
                <a16:creationId xmlns:a16="http://schemas.microsoft.com/office/drawing/2014/main" id="{CED15F80-D146-646F-2FB2-8CFAD7BDF3F5}"/>
              </a:ext>
            </a:extLst>
          </p:cNvPr>
          <p:cNvSpPr txBox="1"/>
          <p:nvPr/>
        </p:nvSpPr>
        <p:spPr>
          <a:xfrm>
            <a:off x="3757671" y="5630016"/>
            <a:ext cx="4755643" cy="607456"/>
          </a:xfrm>
          <a:prstGeom prst="rect">
            <a:avLst/>
          </a:prstGeom>
          <a:noFill/>
          <a:ln>
            <a:noFill/>
          </a:ln>
        </p:spPr>
        <p:txBody>
          <a:bodyPr vert="horz" wrap="none" lIns="72000" tIns="72000" rIns="72000" bIns="7200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Thos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part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ar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common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basi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 all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use-cases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 ExtraBold" pitchFamily="2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Light" pitchFamily="2" charset="0"/>
                <a:ea typeface="+mn-ea"/>
                <a:cs typeface="+mn-cs"/>
              </a:rPr>
              <a:t>and are provided by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Industry Cor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a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Digital Twin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.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anose="020B060402020202020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167BD42-7F2F-B2ED-B0DB-4F1F4F0AC316}"/>
              </a:ext>
            </a:extLst>
          </p:cNvPr>
          <p:cNvGrpSpPr/>
          <p:nvPr/>
        </p:nvGrpSpPr>
        <p:grpSpPr>
          <a:xfrm>
            <a:off x="1626562" y="1295181"/>
            <a:ext cx="864000" cy="864000"/>
            <a:chOff x="1626562" y="1295181"/>
            <a:chExt cx="864000" cy="864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30032D2-88E4-D83C-BE6A-1D7D9F252612}"/>
                </a:ext>
              </a:extLst>
            </p:cNvPr>
            <p:cNvSpPr/>
            <p:nvPr/>
          </p:nvSpPr>
          <p:spPr>
            <a:xfrm>
              <a:off x="1626562" y="1295181"/>
              <a:ext cx="864000" cy="864000"/>
            </a:xfrm>
            <a:prstGeom prst="ellipse">
              <a:avLst/>
            </a:prstGeom>
            <a:solidFill>
              <a:srgbClr val="253953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C4A4EE69-6AD5-9DB7-B771-6B3471A0E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626562" y="1295181"/>
              <a:ext cx="864000" cy="864000"/>
            </a:xfrm>
            <a:prstGeom prst="rect">
              <a:avLst/>
            </a:prstGeom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71907916-B3E5-0C00-637D-FBB1F6CEE4E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687110" y="1295181"/>
            <a:ext cx="864000" cy="864000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D059F22-5C22-636E-6303-5D5932CED18A}"/>
              </a:ext>
            </a:extLst>
          </p:cNvPr>
          <p:cNvGrpSpPr/>
          <p:nvPr/>
        </p:nvGrpSpPr>
        <p:grpSpPr>
          <a:xfrm>
            <a:off x="2536675" y="3332179"/>
            <a:ext cx="499818" cy="499818"/>
            <a:chOff x="1626562" y="1295181"/>
            <a:chExt cx="864000" cy="864000"/>
          </a:xfrm>
        </p:grpSpPr>
        <p:sp>
          <p:nvSpPr>
            <p:cNvPr id="8" name="Oval 18">
              <a:extLst>
                <a:ext uri="{FF2B5EF4-FFF2-40B4-BE49-F238E27FC236}">
                  <a16:creationId xmlns:a16="http://schemas.microsoft.com/office/drawing/2014/main" id="{AEC3AA18-D293-E79A-4484-13B2CAEF7FE3}"/>
                </a:ext>
              </a:extLst>
            </p:cNvPr>
            <p:cNvSpPr/>
            <p:nvPr/>
          </p:nvSpPr>
          <p:spPr>
            <a:xfrm>
              <a:off x="1626562" y="1295181"/>
              <a:ext cx="864000" cy="864000"/>
            </a:xfrm>
            <a:prstGeom prst="ellipse">
              <a:avLst/>
            </a:prstGeom>
            <a:solidFill>
              <a:srgbClr val="253953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FBC677E1-C9A7-80E1-AB0F-F99C7B449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626562" y="1295181"/>
              <a:ext cx="864000" cy="864000"/>
            </a:xfrm>
            <a:prstGeom prst="rect">
              <a:avLst/>
            </a:prstGeom>
          </p:spPr>
        </p:pic>
      </p:grp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79B60B81-1572-589D-DF8E-4C841602423F}"/>
              </a:ext>
            </a:extLst>
          </p:cNvPr>
          <p:cNvSpPr/>
          <p:nvPr/>
        </p:nvSpPr>
        <p:spPr>
          <a:xfrm>
            <a:off x="2606603" y="5406576"/>
            <a:ext cx="51856" cy="161191"/>
          </a:xfrm>
          <a:custGeom>
            <a:avLst/>
            <a:gdLst>
              <a:gd name="connsiteX0" fmla="*/ 0 w 51856"/>
              <a:gd name="connsiteY0" fmla="*/ 0 h 161191"/>
              <a:gd name="connsiteX1" fmla="*/ 51856 w 51856"/>
              <a:gd name="connsiteY1" fmla="*/ 0 h 161191"/>
              <a:gd name="connsiteX2" fmla="*/ 51856 w 51856"/>
              <a:gd name="connsiteY2" fmla="*/ 161191 h 161191"/>
              <a:gd name="connsiteX3" fmla="*/ 0 w 51856"/>
              <a:gd name="connsiteY3" fmla="*/ 161191 h 16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6" h="161191">
                <a:moveTo>
                  <a:pt x="0" y="0"/>
                </a:moveTo>
                <a:lnTo>
                  <a:pt x="51856" y="0"/>
                </a:lnTo>
                <a:lnTo>
                  <a:pt x="51856" y="161191"/>
                </a:lnTo>
                <a:lnTo>
                  <a:pt x="0" y="161191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0" name="Freihandform: Form 1119">
            <a:extLst>
              <a:ext uri="{FF2B5EF4-FFF2-40B4-BE49-F238E27FC236}">
                <a16:creationId xmlns:a16="http://schemas.microsoft.com/office/drawing/2014/main" id="{E50D0C98-7394-44A5-4713-B24953A7F4D7}"/>
              </a:ext>
            </a:extLst>
          </p:cNvPr>
          <p:cNvSpPr/>
          <p:nvPr/>
        </p:nvSpPr>
        <p:spPr>
          <a:xfrm>
            <a:off x="2667206" y="5406576"/>
            <a:ext cx="51856" cy="161191"/>
          </a:xfrm>
          <a:custGeom>
            <a:avLst/>
            <a:gdLst>
              <a:gd name="connsiteX0" fmla="*/ 0 w 51856"/>
              <a:gd name="connsiteY0" fmla="*/ 0 h 161191"/>
              <a:gd name="connsiteX1" fmla="*/ 51856 w 51856"/>
              <a:gd name="connsiteY1" fmla="*/ 0 h 161191"/>
              <a:gd name="connsiteX2" fmla="*/ 51856 w 51856"/>
              <a:gd name="connsiteY2" fmla="*/ 161191 h 161191"/>
              <a:gd name="connsiteX3" fmla="*/ 0 w 51856"/>
              <a:gd name="connsiteY3" fmla="*/ 161191 h 16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6" h="161191">
                <a:moveTo>
                  <a:pt x="0" y="0"/>
                </a:moveTo>
                <a:lnTo>
                  <a:pt x="51856" y="0"/>
                </a:lnTo>
                <a:lnTo>
                  <a:pt x="51856" y="161191"/>
                </a:lnTo>
                <a:lnTo>
                  <a:pt x="0" y="161191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1" name="Freihandform: Form 1120">
            <a:extLst>
              <a:ext uri="{FF2B5EF4-FFF2-40B4-BE49-F238E27FC236}">
                <a16:creationId xmlns:a16="http://schemas.microsoft.com/office/drawing/2014/main" id="{75CD5E07-7910-3FAD-84D4-9AAB8EF91993}"/>
              </a:ext>
            </a:extLst>
          </p:cNvPr>
          <p:cNvSpPr/>
          <p:nvPr/>
        </p:nvSpPr>
        <p:spPr>
          <a:xfrm>
            <a:off x="2843704" y="5406576"/>
            <a:ext cx="51856" cy="161191"/>
          </a:xfrm>
          <a:custGeom>
            <a:avLst/>
            <a:gdLst>
              <a:gd name="connsiteX0" fmla="*/ 0 w 51856"/>
              <a:gd name="connsiteY0" fmla="*/ 0 h 161191"/>
              <a:gd name="connsiteX1" fmla="*/ 51856 w 51856"/>
              <a:gd name="connsiteY1" fmla="*/ 0 h 161191"/>
              <a:gd name="connsiteX2" fmla="*/ 51856 w 51856"/>
              <a:gd name="connsiteY2" fmla="*/ 161191 h 161191"/>
              <a:gd name="connsiteX3" fmla="*/ 0 w 51856"/>
              <a:gd name="connsiteY3" fmla="*/ 161191 h 16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6" h="161191">
                <a:moveTo>
                  <a:pt x="0" y="0"/>
                </a:moveTo>
                <a:lnTo>
                  <a:pt x="51856" y="0"/>
                </a:lnTo>
                <a:lnTo>
                  <a:pt x="51856" y="161191"/>
                </a:lnTo>
                <a:lnTo>
                  <a:pt x="0" y="161191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2" name="Freihandform: Form 1121">
            <a:extLst>
              <a:ext uri="{FF2B5EF4-FFF2-40B4-BE49-F238E27FC236}">
                <a16:creationId xmlns:a16="http://schemas.microsoft.com/office/drawing/2014/main" id="{74FA77B2-ED6D-4CDD-C091-60620B84C8F0}"/>
              </a:ext>
            </a:extLst>
          </p:cNvPr>
          <p:cNvSpPr/>
          <p:nvPr/>
        </p:nvSpPr>
        <p:spPr>
          <a:xfrm>
            <a:off x="2904307" y="5406576"/>
            <a:ext cx="51856" cy="161191"/>
          </a:xfrm>
          <a:custGeom>
            <a:avLst/>
            <a:gdLst>
              <a:gd name="connsiteX0" fmla="*/ 0 w 51856"/>
              <a:gd name="connsiteY0" fmla="*/ 0 h 161191"/>
              <a:gd name="connsiteX1" fmla="*/ 51856 w 51856"/>
              <a:gd name="connsiteY1" fmla="*/ 0 h 161191"/>
              <a:gd name="connsiteX2" fmla="*/ 51856 w 51856"/>
              <a:gd name="connsiteY2" fmla="*/ 161191 h 161191"/>
              <a:gd name="connsiteX3" fmla="*/ 0 w 51856"/>
              <a:gd name="connsiteY3" fmla="*/ 161191 h 16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6" h="161191">
                <a:moveTo>
                  <a:pt x="0" y="0"/>
                </a:moveTo>
                <a:lnTo>
                  <a:pt x="51856" y="0"/>
                </a:lnTo>
                <a:lnTo>
                  <a:pt x="51856" y="161191"/>
                </a:lnTo>
                <a:lnTo>
                  <a:pt x="0" y="161191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3" name="Freihandform: Form 1122">
            <a:extLst>
              <a:ext uri="{FF2B5EF4-FFF2-40B4-BE49-F238E27FC236}">
                <a16:creationId xmlns:a16="http://schemas.microsoft.com/office/drawing/2014/main" id="{1B02343B-7168-4A13-D376-24C9D4B378B6}"/>
              </a:ext>
            </a:extLst>
          </p:cNvPr>
          <p:cNvSpPr/>
          <p:nvPr/>
        </p:nvSpPr>
        <p:spPr>
          <a:xfrm>
            <a:off x="2725935" y="5406576"/>
            <a:ext cx="111209" cy="161191"/>
          </a:xfrm>
          <a:custGeom>
            <a:avLst/>
            <a:gdLst>
              <a:gd name="connsiteX0" fmla="*/ 0 w 111209"/>
              <a:gd name="connsiteY0" fmla="*/ 0 h 161191"/>
              <a:gd name="connsiteX1" fmla="*/ 111209 w 111209"/>
              <a:gd name="connsiteY1" fmla="*/ 0 h 161191"/>
              <a:gd name="connsiteX2" fmla="*/ 111209 w 111209"/>
              <a:gd name="connsiteY2" fmla="*/ 161191 h 161191"/>
              <a:gd name="connsiteX3" fmla="*/ 0 w 111209"/>
              <a:gd name="connsiteY3" fmla="*/ 161191 h 16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209" h="161191">
                <a:moveTo>
                  <a:pt x="0" y="0"/>
                </a:moveTo>
                <a:lnTo>
                  <a:pt x="111209" y="0"/>
                </a:lnTo>
                <a:lnTo>
                  <a:pt x="111209" y="161191"/>
                </a:lnTo>
                <a:lnTo>
                  <a:pt x="0" y="161191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4" name="Freihandform: Form 1123">
            <a:extLst>
              <a:ext uri="{FF2B5EF4-FFF2-40B4-BE49-F238E27FC236}">
                <a16:creationId xmlns:a16="http://schemas.microsoft.com/office/drawing/2014/main" id="{789CD197-3B9D-908C-67FC-1861A860461B}"/>
              </a:ext>
            </a:extLst>
          </p:cNvPr>
          <p:cNvSpPr/>
          <p:nvPr/>
        </p:nvSpPr>
        <p:spPr>
          <a:xfrm>
            <a:off x="2749676" y="5411887"/>
            <a:ext cx="57479" cy="149945"/>
          </a:xfrm>
          <a:custGeom>
            <a:avLst/>
            <a:gdLst>
              <a:gd name="connsiteX0" fmla="*/ 52481 w 57479"/>
              <a:gd name="connsiteY0" fmla="*/ 0 h 149945"/>
              <a:gd name="connsiteX1" fmla="*/ 0 w 57479"/>
              <a:gd name="connsiteY1" fmla="*/ 85906 h 149945"/>
              <a:gd name="connsiteX2" fmla="*/ 26240 w 57479"/>
              <a:gd name="connsiteY2" fmla="*/ 85906 h 149945"/>
              <a:gd name="connsiteX3" fmla="*/ 4686 w 57479"/>
              <a:gd name="connsiteY3" fmla="*/ 149945 h 149945"/>
              <a:gd name="connsiteX4" fmla="*/ 57479 w 57479"/>
              <a:gd name="connsiteY4" fmla="*/ 65601 h 149945"/>
              <a:gd name="connsiteX5" fmla="*/ 31863 w 57479"/>
              <a:gd name="connsiteY5" fmla="*/ 65601 h 1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479" h="149945">
                <a:moveTo>
                  <a:pt x="52481" y="0"/>
                </a:moveTo>
                <a:lnTo>
                  <a:pt x="0" y="85906"/>
                </a:lnTo>
                <a:lnTo>
                  <a:pt x="26240" y="85906"/>
                </a:lnTo>
                <a:lnTo>
                  <a:pt x="4686" y="149945"/>
                </a:lnTo>
                <a:lnTo>
                  <a:pt x="57479" y="65601"/>
                </a:lnTo>
                <a:lnTo>
                  <a:pt x="31863" y="65601"/>
                </a:lnTo>
                <a:close/>
              </a:path>
            </a:pathLst>
          </a:custGeom>
          <a:solidFill>
            <a:srgbClr val="012146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5" name="Freihandform: Form 1124">
            <a:extLst>
              <a:ext uri="{FF2B5EF4-FFF2-40B4-BE49-F238E27FC236}">
                <a16:creationId xmlns:a16="http://schemas.microsoft.com/office/drawing/2014/main" id="{B121171F-843A-5DCA-EC43-D08ED8596C80}"/>
              </a:ext>
            </a:extLst>
          </p:cNvPr>
          <p:cNvSpPr/>
          <p:nvPr/>
        </p:nvSpPr>
        <p:spPr>
          <a:xfrm>
            <a:off x="2585986" y="5385021"/>
            <a:ext cx="391732" cy="202738"/>
          </a:xfrm>
          <a:custGeom>
            <a:avLst/>
            <a:gdLst>
              <a:gd name="connsiteX0" fmla="*/ 375801 w 391732"/>
              <a:gd name="connsiteY0" fmla="*/ 202739 h 202738"/>
              <a:gd name="connsiteX1" fmla="*/ 15619 w 391732"/>
              <a:gd name="connsiteY1" fmla="*/ 202739 h 202738"/>
              <a:gd name="connsiteX2" fmla="*/ 0 w 391732"/>
              <a:gd name="connsiteY2" fmla="*/ 187119 h 202738"/>
              <a:gd name="connsiteX3" fmla="*/ 0 w 391732"/>
              <a:gd name="connsiteY3" fmla="*/ 15619 h 202738"/>
              <a:gd name="connsiteX4" fmla="*/ 15619 w 391732"/>
              <a:gd name="connsiteY4" fmla="*/ 0 h 202738"/>
              <a:gd name="connsiteX5" fmla="*/ 376113 w 391732"/>
              <a:gd name="connsiteY5" fmla="*/ 0 h 202738"/>
              <a:gd name="connsiteX6" fmla="*/ 391732 w 391732"/>
              <a:gd name="connsiteY6" fmla="*/ 15619 h 202738"/>
              <a:gd name="connsiteX7" fmla="*/ 391732 w 391732"/>
              <a:gd name="connsiteY7" fmla="*/ 187119 h 202738"/>
              <a:gd name="connsiteX8" fmla="*/ 375801 w 391732"/>
              <a:gd name="connsiteY8" fmla="*/ 202739 h 202738"/>
              <a:gd name="connsiteX9" fmla="*/ 15619 w 391732"/>
              <a:gd name="connsiteY9" fmla="*/ 8122 h 202738"/>
              <a:gd name="connsiteX10" fmla="*/ 8122 w 391732"/>
              <a:gd name="connsiteY10" fmla="*/ 15619 h 202738"/>
              <a:gd name="connsiteX11" fmla="*/ 8122 w 391732"/>
              <a:gd name="connsiteY11" fmla="*/ 187119 h 202738"/>
              <a:gd name="connsiteX12" fmla="*/ 15619 w 391732"/>
              <a:gd name="connsiteY12" fmla="*/ 194617 h 202738"/>
              <a:gd name="connsiteX13" fmla="*/ 376113 w 391732"/>
              <a:gd name="connsiteY13" fmla="*/ 194617 h 202738"/>
              <a:gd name="connsiteX14" fmla="*/ 383610 w 391732"/>
              <a:gd name="connsiteY14" fmla="*/ 187119 h 202738"/>
              <a:gd name="connsiteX15" fmla="*/ 383610 w 391732"/>
              <a:gd name="connsiteY15" fmla="*/ 15619 h 202738"/>
              <a:gd name="connsiteX16" fmla="*/ 376113 w 391732"/>
              <a:gd name="connsiteY16" fmla="*/ 8122 h 202738"/>
              <a:gd name="connsiteX17" fmla="*/ 15619 w 391732"/>
              <a:gd name="connsiteY17" fmla="*/ 8122 h 202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1732" h="202738">
                <a:moveTo>
                  <a:pt x="375801" y="202739"/>
                </a:moveTo>
                <a:lnTo>
                  <a:pt x="15619" y="202739"/>
                </a:lnTo>
                <a:cubicBezTo>
                  <a:pt x="7185" y="202739"/>
                  <a:pt x="0" y="195866"/>
                  <a:pt x="0" y="187119"/>
                </a:cubicBezTo>
                <a:lnTo>
                  <a:pt x="0" y="15619"/>
                </a:lnTo>
                <a:cubicBezTo>
                  <a:pt x="0" y="7185"/>
                  <a:pt x="6872" y="0"/>
                  <a:pt x="15619" y="0"/>
                </a:cubicBezTo>
                <a:lnTo>
                  <a:pt x="376113" y="0"/>
                </a:lnTo>
                <a:cubicBezTo>
                  <a:pt x="384547" y="0"/>
                  <a:pt x="391732" y="6872"/>
                  <a:pt x="391732" y="15619"/>
                </a:cubicBezTo>
                <a:lnTo>
                  <a:pt x="391732" y="187119"/>
                </a:lnTo>
                <a:cubicBezTo>
                  <a:pt x="391420" y="195866"/>
                  <a:pt x="384547" y="202739"/>
                  <a:pt x="375801" y="202739"/>
                </a:cubicBezTo>
                <a:close/>
                <a:moveTo>
                  <a:pt x="15619" y="8122"/>
                </a:moveTo>
                <a:cubicBezTo>
                  <a:pt x="11558" y="8122"/>
                  <a:pt x="8122" y="11558"/>
                  <a:pt x="8122" y="15619"/>
                </a:cubicBezTo>
                <a:lnTo>
                  <a:pt x="8122" y="187119"/>
                </a:lnTo>
                <a:cubicBezTo>
                  <a:pt x="8122" y="191180"/>
                  <a:pt x="11558" y="194617"/>
                  <a:pt x="15619" y="194617"/>
                </a:cubicBezTo>
                <a:lnTo>
                  <a:pt x="376113" y="194617"/>
                </a:lnTo>
                <a:cubicBezTo>
                  <a:pt x="380174" y="194617"/>
                  <a:pt x="383610" y="191180"/>
                  <a:pt x="383610" y="187119"/>
                </a:cubicBezTo>
                <a:lnTo>
                  <a:pt x="383610" y="15619"/>
                </a:lnTo>
                <a:cubicBezTo>
                  <a:pt x="383610" y="11558"/>
                  <a:pt x="380174" y="8122"/>
                  <a:pt x="376113" y="8122"/>
                </a:cubicBezTo>
                <a:lnTo>
                  <a:pt x="15619" y="8122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6" name="Freihandform: Form 1125">
            <a:extLst>
              <a:ext uri="{FF2B5EF4-FFF2-40B4-BE49-F238E27FC236}">
                <a16:creationId xmlns:a16="http://schemas.microsoft.com/office/drawing/2014/main" id="{0BCEB1C4-4A9F-088D-8726-2FB67FDE52E2}"/>
              </a:ext>
            </a:extLst>
          </p:cNvPr>
          <p:cNvSpPr/>
          <p:nvPr/>
        </p:nvSpPr>
        <p:spPr>
          <a:xfrm>
            <a:off x="2640653" y="5355345"/>
            <a:ext cx="36549" cy="19992"/>
          </a:xfrm>
          <a:custGeom>
            <a:avLst/>
            <a:gdLst>
              <a:gd name="connsiteX0" fmla="*/ 0 w 36549"/>
              <a:gd name="connsiteY0" fmla="*/ 0 h 19992"/>
              <a:gd name="connsiteX1" fmla="*/ 36549 w 36549"/>
              <a:gd name="connsiteY1" fmla="*/ 0 h 19992"/>
              <a:gd name="connsiteX2" fmla="*/ 36549 w 36549"/>
              <a:gd name="connsiteY2" fmla="*/ 19993 h 19992"/>
              <a:gd name="connsiteX3" fmla="*/ 0 w 36549"/>
              <a:gd name="connsiteY3" fmla="*/ 19993 h 19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49" h="19992">
                <a:moveTo>
                  <a:pt x="0" y="0"/>
                </a:moveTo>
                <a:lnTo>
                  <a:pt x="36549" y="0"/>
                </a:lnTo>
                <a:lnTo>
                  <a:pt x="36549" y="19993"/>
                </a:lnTo>
                <a:lnTo>
                  <a:pt x="0" y="19993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" name="Freihandform: Form 1126">
            <a:extLst>
              <a:ext uri="{FF2B5EF4-FFF2-40B4-BE49-F238E27FC236}">
                <a16:creationId xmlns:a16="http://schemas.microsoft.com/office/drawing/2014/main" id="{59510E0B-BCD5-760B-73F5-18778BD0793F}"/>
              </a:ext>
            </a:extLst>
          </p:cNvPr>
          <p:cNvSpPr/>
          <p:nvPr/>
        </p:nvSpPr>
        <p:spPr>
          <a:xfrm>
            <a:off x="2885876" y="5355345"/>
            <a:ext cx="36549" cy="19992"/>
          </a:xfrm>
          <a:custGeom>
            <a:avLst/>
            <a:gdLst>
              <a:gd name="connsiteX0" fmla="*/ 0 w 36549"/>
              <a:gd name="connsiteY0" fmla="*/ 0 h 19992"/>
              <a:gd name="connsiteX1" fmla="*/ 36549 w 36549"/>
              <a:gd name="connsiteY1" fmla="*/ 0 h 19992"/>
              <a:gd name="connsiteX2" fmla="*/ 36549 w 36549"/>
              <a:gd name="connsiteY2" fmla="*/ 19993 h 19992"/>
              <a:gd name="connsiteX3" fmla="*/ 0 w 36549"/>
              <a:gd name="connsiteY3" fmla="*/ 19993 h 19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49" h="19992">
                <a:moveTo>
                  <a:pt x="0" y="0"/>
                </a:moveTo>
                <a:lnTo>
                  <a:pt x="36549" y="0"/>
                </a:lnTo>
                <a:lnTo>
                  <a:pt x="36549" y="19993"/>
                </a:lnTo>
                <a:lnTo>
                  <a:pt x="0" y="19993"/>
                </a:lnTo>
                <a:close/>
              </a:path>
            </a:pathLst>
          </a:custGeom>
          <a:solidFill>
            <a:schemeClr val="bg1"/>
          </a:solidFill>
          <a:ln w="309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4A554FC-298B-D556-AADB-8B2393102AB1}"/>
              </a:ext>
            </a:extLst>
          </p:cNvPr>
          <p:cNvSpPr txBox="1"/>
          <p:nvPr/>
        </p:nvSpPr>
        <p:spPr>
          <a:xfrm>
            <a:off x="5642610" y="2667000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6447890-98A5-54E9-396E-249100ACA8BB}"/>
              </a:ext>
            </a:extLst>
          </p:cNvPr>
          <p:cNvSpPr txBox="1"/>
          <p:nvPr/>
        </p:nvSpPr>
        <p:spPr>
          <a:xfrm>
            <a:off x="2783878" y="4692296"/>
            <a:ext cx="914400" cy="9144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29" name="Grafik 1127">
            <a:extLst>
              <a:ext uri="{FF2B5EF4-FFF2-40B4-BE49-F238E27FC236}">
                <a16:creationId xmlns:a16="http://schemas.microsoft.com/office/drawing/2014/main" id="{DD6D987B-2C4A-303E-F78F-2B85AD167377}"/>
              </a:ext>
            </a:extLst>
          </p:cNvPr>
          <p:cNvGrpSpPr/>
          <p:nvPr/>
        </p:nvGrpSpPr>
        <p:grpSpPr>
          <a:xfrm>
            <a:off x="10589067" y="3371047"/>
            <a:ext cx="549781" cy="549781"/>
            <a:chOff x="10589067" y="3371047"/>
            <a:chExt cx="549781" cy="549781"/>
          </a:xfrm>
        </p:grpSpPr>
        <p:sp>
          <p:nvSpPr>
            <p:cNvPr id="1130" name="Freihandform: Form 1129">
              <a:extLst>
                <a:ext uri="{FF2B5EF4-FFF2-40B4-BE49-F238E27FC236}">
                  <a16:creationId xmlns:a16="http://schemas.microsoft.com/office/drawing/2014/main" id="{9A5E19F9-E1BF-0A04-1C2E-5459BDD40E02}"/>
                </a:ext>
              </a:extLst>
            </p:cNvPr>
            <p:cNvSpPr/>
            <p:nvPr/>
          </p:nvSpPr>
          <p:spPr>
            <a:xfrm>
              <a:off x="10589067" y="3371047"/>
              <a:ext cx="549781" cy="549781"/>
            </a:xfrm>
            <a:custGeom>
              <a:avLst/>
              <a:gdLst>
                <a:gd name="connsiteX0" fmla="*/ 549781 w 549781"/>
                <a:gd name="connsiteY0" fmla="*/ 274891 h 549781"/>
                <a:gd name="connsiteX1" fmla="*/ 274891 w 549781"/>
                <a:gd name="connsiteY1" fmla="*/ 549781 h 549781"/>
                <a:gd name="connsiteX2" fmla="*/ 0 w 549781"/>
                <a:gd name="connsiteY2" fmla="*/ 274891 h 549781"/>
                <a:gd name="connsiteX3" fmla="*/ 274891 w 549781"/>
                <a:gd name="connsiteY3" fmla="*/ 0 h 549781"/>
                <a:gd name="connsiteX4" fmla="*/ 549781 w 549781"/>
                <a:gd name="connsiteY4" fmla="*/ 274891 h 549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9781" h="549781">
                  <a:moveTo>
                    <a:pt x="549781" y="274891"/>
                  </a:moveTo>
                  <a:cubicBezTo>
                    <a:pt x="549781" y="426708"/>
                    <a:pt x="426708" y="549781"/>
                    <a:pt x="274891" y="549781"/>
                  </a:cubicBezTo>
                  <a:cubicBezTo>
                    <a:pt x="123073" y="549781"/>
                    <a:pt x="0" y="426708"/>
                    <a:pt x="0" y="274891"/>
                  </a:cubicBezTo>
                  <a:cubicBezTo>
                    <a:pt x="0" y="123073"/>
                    <a:pt x="123073" y="0"/>
                    <a:pt x="274891" y="0"/>
                  </a:cubicBezTo>
                  <a:cubicBezTo>
                    <a:pt x="426708" y="0"/>
                    <a:pt x="549781" y="123073"/>
                    <a:pt x="549781" y="274891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31" name="Grafik 1127">
              <a:extLst>
                <a:ext uri="{FF2B5EF4-FFF2-40B4-BE49-F238E27FC236}">
                  <a16:creationId xmlns:a16="http://schemas.microsoft.com/office/drawing/2014/main" id="{393DB6E7-CD71-F1F9-8D67-36450F53BDEB}"/>
                </a:ext>
              </a:extLst>
            </p:cNvPr>
            <p:cNvGrpSpPr/>
            <p:nvPr/>
          </p:nvGrpSpPr>
          <p:grpSpPr>
            <a:xfrm>
              <a:off x="10644389" y="3506087"/>
              <a:ext cx="431578" cy="256678"/>
              <a:chOff x="10644389" y="3506087"/>
              <a:chExt cx="431578" cy="256678"/>
            </a:xfrm>
            <a:solidFill>
              <a:srgbClr val="012146"/>
            </a:solidFill>
          </p:grpSpPr>
          <p:sp>
            <p:nvSpPr>
              <p:cNvPr id="1132" name="Freihandform: Form 1131">
                <a:extLst>
                  <a:ext uri="{FF2B5EF4-FFF2-40B4-BE49-F238E27FC236}">
                    <a16:creationId xmlns:a16="http://schemas.microsoft.com/office/drawing/2014/main" id="{0576666E-136E-BE28-1009-8F331B04483B}"/>
                  </a:ext>
                </a:extLst>
              </p:cNvPr>
              <p:cNvSpPr/>
              <p:nvPr/>
            </p:nvSpPr>
            <p:spPr>
              <a:xfrm>
                <a:off x="10662944" y="3561065"/>
                <a:ext cx="62193" cy="183489"/>
              </a:xfrm>
              <a:custGeom>
                <a:avLst/>
                <a:gdLst>
                  <a:gd name="connsiteX0" fmla="*/ 62194 w 62193"/>
                  <a:gd name="connsiteY0" fmla="*/ 183489 h 183489"/>
                  <a:gd name="connsiteX1" fmla="*/ 0 w 62193"/>
                  <a:gd name="connsiteY1" fmla="*/ 183489 h 183489"/>
                  <a:gd name="connsiteX2" fmla="*/ 0 w 62193"/>
                  <a:gd name="connsiteY2" fmla="*/ 0 h 183489"/>
                  <a:gd name="connsiteX3" fmla="*/ 62194 w 62193"/>
                  <a:gd name="connsiteY3" fmla="*/ 0 h 183489"/>
                  <a:gd name="connsiteX4" fmla="*/ 62194 w 62193"/>
                  <a:gd name="connsiteY4" fmla="*/ 183489 h 183489"/>
                  <a:gd name="connsiteX5" fmla="*/ 4467 w 62193"/>
                  <a:gd name="connsiteY5" fmla="*/ 179366 h 183489"/>
                  <a:gd name="connsiteX6" fmla="*/ 58071 w 62193"/>
                  <a:gd name="connsiteY6" fmla="*/ 179366 h 183489"/>
                  <a:gd name="connsiteX7" fmla="*/ 58071 w 62193"/>
                  <a:gd name="connsiteY7" fmla="*/ 4467 h 183489"/>
                  <a:gd name="connsiteX8" fmla="*/ 4467 w 62193"/>
                  <a:gd name="connsiteY8" fmla="*/ 4467 h 183489"/>
                  <a:gd name="connsiteX9" fmla="*/ 4467 w 62193"/>
                  <a:gd name="connsiteY9" fmla="*/ 179366 h 18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3" h="183489">
                    <a:moveTo>
                      <a:pt x="62194" y="183489"/>
                    </a:moveTo>
                    <a:lnTo>
                      <a:pt x="0" y="183489"/>
                    </a:lnTo>
                    <a:lnTo>
                      <a:pt x="0" y="0"/>
                    </a:lnTo>
                    <a:lnTo>
                      <a:pt x="62194" y="0"/>
                    </a:lnTo>
                    <a:lnTo>
                      <a:pt x="62194" y="183489"/>
                    </a:lnTo>
                    <a:close/>
                    <a:moveTo>
                      <a:pt x="4467" y="179366"/>
                    </a:moveTo>
                    <a:lnTo>
                      <a:pt x="58071" y="179366"/>
                    </a:lnTo>
                    <a:lnTo>
                      <a:pt x="58071" y="4467"/>
                    </a:lnTo>
                    <a:lnTo>
                      <a:pt x="4467" y="4467"/>
                    </a:lnTo>
                    <a:lnTo>
                      <a:pt x="4467" y="179366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3" name="Freihandform: Form 1132">
                <a:extLst>
                  <a:ext uri="{FF2B5EF4-FFF2-40B4-BE49-F238E27FC236}">
                    <a16:creationId xmlns:a16="http://schemas.microsoft.com/office/drawing/2014/main" id="{F27BF9F3-2AFD-074D-B967-DAB588BD7F01}"/>
                  </a:ext>
                </a:extLst>
              </p:cNvPr>
              <p:cNvSpPr/>
              <p:nvPr/>
            </p:nvSpPr>
            <p:spPr>
              <a:xfrm>
                <a:off x="10730636" y="3561065"/>
                <a:ext cx="62193" cy="183489"/>
              </a:xfrm>
              <a:custGeom>
                <a:avLst/>
                <a:gdLst>
                  <a:gd name="connsiteX0" fmla="*/ 62194 w 62193"/>
                  <a:gd name="connsiteY0" fmla="*/ 183489 h 183489"/>
                  <a:gd name="connsiteX1" fmla="*/ 0 w 62193"/>
                  <a:gd name="connsiteY1" fmla="*/ 183489 h 183489"/>
                  <a:gd name="connsiteX2" fmla="*/ 0 w 62193"/>
                  <a:gd name="connsiteY2" fmla="*/ 0 h 183489"/>
                  <a:gd name="connsiteX3" fmla="*/ 62194 w 62193"/>
                  <a:gd name="connsiteY3" fmla="*/ 0 h 183489"/>
                  <a:gd name="connsiteX4" fmla="*/ 62194 w 62193"/>
                  <a:gd name="connsiteY4" fmla="*/ 183489 h 183489"/>
                  <a:gd name="connsiteX5" fmla="*/ 4123 w 62193"/>
                  <a:gd name="connsiteY5" fmla="*/ 179366 h 183489"/>
                  <a:gd name="connsiteX6" fmla="*/ 57727 w 62193"/>
                  <a:gd name="connsiteY6" fmla="*/ 179366 h 183489"/>
                  <a:gd name="connsiteX7" fmla="*/ 57727 w 62193"/>
                  <a:gd name="connsiteY7" fmla="*/ 4467 h 183489"/>
                  <a:gd name="connsiteX8" fmla="*/ 4123 w 62193"/>
                  <a:gd name="connsiteY8" fmla="*/ 4467 h 183489"/>
                  <a:gd name="connsiteX9" fmla="*/ 4123 w 62193"/>
                  <a:gd name="connsiteY9" fmla="*/ 179366 h 18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3" h="183489">
                    <a:moveTo>
                      <a:pt x="62194" y="183489"/>
                    </a:moveTo>
                    <a:lnTo>
                      <a:pt x="0" y="183489"/>
                    </a:lnTo>
                    <a:lnTo>
                      <a:pt x="0" y="0"/>
                    </a:lnTo>
                    <a:lnTo>
                      <a:pt x="62194" y="0"/>
                    </a:lnTo>
                    <a:lnTo>
                      <a:pt x="62194" y="183489"/>
                    </a:lnTo>
                    <a:close/>
                    <a:moveTo>
                      <a:pt x="4123" y="179366"/>
                    </a:moveTo>
                    <a:lnTo>
                      <a:pt x="57727" y="179366"/>
                    </a:lnTo>
                    <a:lnTo>
                      <a:pt x="57727" y="4467"/>
                    </a:lnTo>
                    <a:lnTo>
                      <a:pt x="4123" y="4467"/>
                    </a:lnTo>
                    <a:lnTo>
                      <a:pt x="4123" y="179366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4" name="Freihandform: Form 1133">
                <a:extLst>
                  <a:ext uri="{FF2B5EF4-FFF2-40B4-BE49-F238E27FC236}">
                    <a16:creationId xmlns:a16="http://schemas.microsoft.com/office/drawing/2014/main" id="{CFCD45F1-B43F-4C19-9A1D-39B727C41B40}"/>
                  </a:ext>
                </a:extLst>
              </p:cNvPr>
              <p:cNvSpPr/>
              <p:nvPr/>
            </p:nvSpPr>
            <p:spPr>
              <a:xfrm>
                <a:off x="10926839" y="3561065"/>
                <a:ext cx="62193" cy="183489"/>
              </a:xfrm>
              <a:custGeom>
                <a:avLst/>
                <a:gdLst>
                  <a:gd name="connsiteX0" fmla="*/ 62194 w 62193"/>
                  <a:gd name="connsiteY0" fmla="*/ 183489 h 183489"/>
                  <a:gd name="connsiteX1" fmla="*/ 0 w 62193"/>
                  <a:gd name="connsiteY1" fmla="*/ 183489 h 183489"/>
                  <a:gd name="connsiteX2" fmla="*/ 0 w 62193"/>
                  <a:gd name="connsiteY2" fmla="*/ 0 h 183489"/>
                  <a:gd name="connsiteX3" fmla="*/ 62194 w 62193"/>
                  <a:gd name="connsiteY3" fmla="*/ 0 h 183489"/>
                  <a:gd name="connsiteX4" fmla="*/ 62194 w 62193"/>
                  <a:gd name="connsiteY4" fmla="*/ 183489 h 183489"/>
                  <a:gd name="connsiteX5" fmla="*/ 4123 w 62193"/>
                  <a:gd name="connsiteY5" fmla="*/ 179366 h 183489"/>
                  <a:gd name="connsiteX6" fmla="*/ 57727 w 62193"/>
                  <a:gd name="connsiteY6" fmla="*/ 179366 h 183489"/>
                  <a:gd name="connsiteX7" fmla="*/ 57727 w 62193"/>
                  <a:gd name="connsiteY7" fmla="*/ 4467 h 183489"/>
                  <a:gd name="connsiteX8" fmla="*/ 4123 w 62193"/>
                  <a:gd name="connsiteY8" fmla="*/ 4467 h 183489"/>
                  <a:gd name="connsiteX9" fmla="*/ 4123 w 62193"/>
                  <a:gd name="connsiteY9" fmla="*/ 179366 h 18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3" h="183489">
                    <a:moveTo>
                      <a:pt x="62194" y="183489"/>
                    </a:moveTo>
                    <a:lnTo>
                      <a:pt x="0" y="183489"/>
                    </a:lnTo>
                    <a:lnTo>
                      <a:pt x="0" y="0"/>
                    </a:lnTo>
                    <a:lnTo>
                      <a:pt x="62194" y="0"/>
                    </a:lnTo>
                    <a:lnTo>
                      <a:pt x="62194" y="183489"/>
                    </a:lnTo>
                    <a:close/>
                    <a:moveTo>
                      <a:pt x="4123" y="179366"/>
                    </a:moveTo>
                    <a:lnTo>
                      <a:pt x="57727" y="179366"/>
                    </a:lnTo>
                    <a:lnTo>
                      <a:pt x="57727" y="4467"/>
                    </a:lnTo>
                    <a:lnTo>
                      <a:pt x="4123" y="4467"/>
                    </a:lnTo>
                    <a:lnTo>
                      <a:pt x="4123" y="179366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5" name="Freihandform: Form 1134">
                <a:extLst>
                  <a:ext uri="{FF2B5EF4-FFF2-40B4-BE49-F238E27FC236}">
                    <a16:creationId xmlns:a16="http://schemas.microsoft.com/office/drawing/2014/main" id="{795CF5BA-D42A-71C5-BBAB-246A47B4005D}"/>
                  </a:ext>
                </a:extLst>
              </p:cNvPr>
              <p:cNvSpPr/>
              <p:nvPr/>
            </p:nvSpPr>
            <p:spPr>
              <a:xfrm>
                <a:off x="10994187" y="3561065"/>
                <a:ext cx="62193" cy="183489"/>
              </a:xfrm>
              <a:custGeom>
                <a:avLst/>
                <a:gdLst>
                  <a:gd name="connsiteX0" fmla="*/ 62194 w 62193"/>
                  <a:gd name="connsiteY0" fmla="*/ 183489 h 183489"/>
                  <a:gd name="connsiteX1" fmla="*/ 0 w 62193"/>
                  <a:gd name="connsiteY1" fmla="*/ 183489 h 183489"/>
                  <a:gd name="connsiteX2" fmla="*/ 0 w 62193"/>
                  <a:gd name="connsiteY2" fmla="*/ 0 h 183489"/>
                  <a:gd name="connsiteX3" fmla="*/ 62194 w 62193"/>
                  <a:gd name="connsiteY3" fmla="*/ 0 h 183489"/>
                  <a:gd name="connsiteX4" fmla="*/ 62194 w 62193"/>
                  <a:gd name="connsiteY4" fmla="*/ 183489 h 183489"/>
                  <a:gd name="connsiteX5" fmla="*/ 4467 w 62193"/>
                  <a:gd name="connsiteY5" fmla="*/ 179366 h 183489"/>
                  <a:gd name="connsiteX6" fmla="*/ 58071 w 62193"/>
                  <a:gd name="connsiteY6" fmla="*/ 179366 h 183489"/>
                  <a:gd name="connsiteX7" fmla="*/ 58071 w 62193"/>
                  <a:gd name="connsiteY7" fmla="*/ 4467 h 183489"/>
                  <a:gd name="connsiteX8" fmla="*/ 4467 w 62193"/>
                  <a:gd name="connsiteY8" fmla="*/ 4467 h 183489"/>
                  <a:gd name="connsiteX9" fmla="*/ 4467 w 62193"/>
                  <a:gd name="connsiteY9" fmla="*/ 179366 h 18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3" h="183489">
                    <a:moveTo>
                      <a:pt x="62194" y="183489"/>
                    </a:moveTo>
                    <a:lnTo>
                      <a:pt x="0" y="183489"/>
                    </a:lnTo>
                    <a:lnTo>
                      <a:pt x="0" y="0"/>
                    </a:lnTo>
                    <a:lnTo>
                      <a:pt x="62194" y="0"/>
                    </a:lnTo>
                    <a:lnTo>
                      <a:pt x="62194" y="183489"/>
                    </a:lnTo>
                    <a:close/>
                    <a:moveTo>
                      <a:pt x="4467" y="179366"/>
                    </a:moveTo>
                    <a:lnTo>
                      <a:pt x="58071" y="179366"/>
                    </a:lnTo>
                    <a:lnTo>
                      <a:pt x="58071" y="4467"/>
                    </a:lnTo>
                    <a:lnTo>
                      <a:pt x="4467" y="4467"/>
                    </a:lnTo>
                    <a:lnTo>
                      <a:pt x="4467" y="179366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6" name="Freihandform: Form 1135">
                <a:extLst>
                  <a:ext uri="{FF2B5EF4-FFF2-40B4-BE49-F238E27FC236}">
                    <a16:creationId xmlns:a16="http://schemas.microsoft.com/office/drawing/2014/main" id="{3D6C32A8-6E5F-15A0-B7A8-59614B9FD259}"/>
                  </a:ext>
                </a:extLst>
              </p:cNvPr>
              <p:cNvSpPr/>
              <p:nvPr/>
            </p:nvSpPr>
            <p:spPr>
              <a:xfrm>
                <a:off x="10795579" y="3561065"/>
                <a:ext cx="128167" cy="183489"/>
              </a:xfrm>
              <a:custGeom>
                <a:avLst/>
                <a:gdLst>
                  <a:gd name="connsiteX0" fmla="*/ 128168 w 128167"/>
                  <a:gd name="connsiteY0" fmla="*/ 183489 h 183489"/>
                  <a:gd name="connsiteX1" fmla="*/ 0 w 128167"/>
                  <a:gd name="connsiteY1" fmla="*/ 183489 h 183489"/>
                  <a:gd name="connsiteX2" fmla="*/ 0 w 128167"/>
                  <a:gd name="connsiteY2" fmla="*/ 0 h 183489"/>
                  <a:gd name="connsiteX3" fmla="*/ 128168 w 128167"/>
                  <a:gd name="connsiteY3" fmla="*/ 0 h 183489"/>
                  <a:gd name="connsiteX4" fmla="*/ 128168 w 128167"/>
                  <a:gd name="connsiteY4" fmla="*/ 183489 h 183489"/>
                  <a:gd name="connsiteX5" fmla="*/ 4467 w 128167"/>
                  <a:gd name="connsiteY5" fmla="*/ 179366 h 183489"/>
                  <a:gd name="connsiteX6" fmla="*/ 123701 w 128167"/>
                  <a:gd name="connsiteY6" fmla="*/ 179366 h 183489"/>
                  <a:gd name="connsiteX7" fmla="*/ 123701 w 128167"/>
                  <a:gd name="connsiteY7" fmla="*/ 4467 h 183489"/>
                  <a:gd name="connsiteX8" fmla="*/ 4467 w 128167"/>
                  <a:gd name="connsiteY8" fmla="*/ 4467 h 183489"/>
                  <a:gd name="connsiteX9" fmla="*/ 4467 w 128167"/>
                  <a:gd name="connsiteY9" fmla="*/ 179366 h 183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8167" h="183489">
                    <a:moveTo>
                      <a:pt x="128168" y="183489"/>
                    </a:moveTo>
                    <a:lnTo>
                      <a:pt x="0" y="183489"/>
                    </a:lnTo>
                    <a:lnTo>
                      <a:pt x="0" y="0"/>
                    </a:lnTo>
                    <a:lnTo>
                      <a:pt x="128168" y="0"/>
                    </a:lnTo>
                    <a:lnTo>
                      <a:pt x="128168" y="183489"/>
                    </a:lnTo>
                    <a:close/>
                    <a:moveTo>
                      <a:pt x="4467" y="179366"/>
                    </a:moveTo>
                    <a:lnTo>
                      <a:pt x="123701" y="179366"/>
                    </a:lnTo>
                    <a:lnTo>
                      <a:pt x="123701" y="4467"/>
                    </a:lnTo>
                    <a:lnTo>
                      <a:pt x="4467" y="4467"/>
                    </a:lnTo>
                    <a:lnTo>
                      <a:pt x="4467" y="179366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7" name="Freihandform: Form 1136">
                <a:extLst>
                  <a:ext uri="{FF2B5EF4-FFF2-40B4-BE49-F238E27FC236}">
                    <a16:creationId xmlns:a16="http://schemas.microsoft.com/office/drawing/2014/main" id="{7AD3DC1B-E059-DA69-5DA5-B3979CEE2C22}"/>
                  </a:ext>
                </a:extLst>
              </p:cNvPr>
              <p:cNvSpPr/>
              <p:nvPr/>
            </p:nvSpPr>
            <p:spPr>
              <a:xfrm>
                <a:off x="10824442" y="3568968"/>
                <a:ext cx="63912" cy="166995"/>
              </a:xfrm>
              <a:custGeom>
                <a:avLst/>
                <a:gdLst>
                  <a:gd name="connsiteX0" fmla="*/ 58414 w 63912"/>
                  <a:gd name="connsiteY0" fmla="*/ 0 h 166995"/>
                  <a:gd name="connsiteX1" fmla="*/ 0 w 63912"/>
                  <a:gd name="connsiteY1" fmla="*/ 95868 h 166995"/>
                  <a:gd name="connsiteX2" fmla="*/ 29207 w 63912"/>
                  <a:gd name="connsiteY2" fmla="*/ 95868 h 166995"/>
                  <a:gd name="connsiteX3" fmla="*/ 5154 w 63912"/>
                  <a:gd name="connsiteY3" fmla="*/ 166996 h 166995"/>
                  <a:gd name="connsiteX4" fmla="*/ 63912 w 63912"/>
                  <a:gd name="connsiteY4" fmla="*/ 73190 h 166995"/>
                  <a:gd name="connsiteX5" fmla="*/ 35392 w 63912"/>
                  <a:gd name="connsiteY5" fmla="*/ 73190 h 166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912" h="166995">
                    <a:moveTo>
                      <a:pt x="58414" y="0"/>
                    </a:moveTo>
                    <a:lnTo>
                      <a:pt x="0" y="95868"/>
                    </a:lnTo>
                    <a:lnTo>
                      <a:pt x="29207" y="95868"/>
                    </a:lnTo>
                    <a:lnTo>
                      <a:pt x="5154" y="166996"/>
                    </a:lnTo>
                    <a:lnTo>
                      <a:pt x="63912" y="73190"/>
                    </a:lnTo>
                    <a:lnTo>
                      <a:pt x="35392" y="73190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8" name="Freihandform: Form 1137">
                <a:extLst>
                  <a:ext uri="{FF2B5EF4-FFF2-40B4-BE49-F238E27FC236}">
                    <a16:creationId xmlns:a16="http://schemas.microsoft.com/office/drawing/2014/main" id="{CB0E62A6-E829-67A1-BD9B-EFBA4DF887BA}"/>
                  </a:ext>
                </a:extLst>
              </p:cNvPr>
              <p:cNvSpPr/>
              <p:nvPr/>
            </p:nvSpPr>
            <p:spPr>
              <a:xfrm>
                <a:off x="10644389" y="3541479"/>
                <a:ext cx="431578" cy="221286"/>
              </a:xfrm>
              <a:custGeom>
                <a:avLst/>
                <a:gdLst>
                  <a:gd name="connsiteX0" fmla="*/ 416116 w 431578"/>
                  <a:gd name="connsiteY0" fmla="*/ 221287 h 221286"/>
                  <a:gd name="connsiteX1" fmla="*/ 15119 w 431578"/>
                  <a:gd name="connsiteY1" fmla="*/ 221287 h 221286"/>
                  <a:gd name="connsiteX2" fmla="*/ 0 w 431578"/>
                  <a:gd name="connsiteY2" fmla="*/ 206168 h 221286"/>
                  <a:gd name="connsiteX3" fmla="*/ 0 w 431578"/>
                  <a:gd name="connsiteY3" fmla="*/ 15119 h 221286"/>
                  <a:gd name="connsiteX4" fmla="*/ 15119 w 431578"/>
                  <a:gd name="connsiteY4" fmla="*/ 0 h 221286"/>
                  <a:gd name="connsiteX5" fmla="*/ 416459 w 431578"/>
                  <a:gd name="connsiteY5" fmla="*/ 0 h 221286"/>
                  <a:gd name="connsiteX6" fmla="*/ 431578 w 431578"/>
                  <a:gd name="connsiteY6" fmla="*/ 15119 h 221286"/>
                  <a:gd name="connsiteX7" fmla="*/ 431578 w 431578"/>
                  <a:gd name="connsiteY7" fmla="*/ 206168 h 221286"/>
                  <a:gd name="connsiteX8" fmla="*/ 416116 w 431578"/>
                  <a:gd name="connsiteY8" fmla="*/ 221287 h 221286"/>
                  <a:gd name="connsiteX9" fmla="*/ 15119 w 431578"/>
                  <a:gd name="connsiteY9" fmla="*/ 4467 h 221286"/>
                  <a:gd name="connsiteX10" fmla="*/ 4467 w 431578"/>
                  <a:gd name="connsiteY10" fmla="*/ 15119 h 221286"/>
                  <a:gd name="connsiteX11" fmla="*/ 4467 w 431578"/>
                  <a:gd name="connsiteY11" fmla="*/ 206168 h 221286"/>
                  <a:gd name="connsiteX12" fmla="*/ 15119 w 431578"/>
                  <a:gd name="connsiteY12" fmla="*/ 216820 h 221286"/>
                  <a:gd name="connsiteX13" fmla="*/ 416459 w 431578"/>
                  <a:gd name="connsiteY13" fmla="*/ 216820 h 221286"/>
                  <a:gd name="connsiteX14" fmla="*/ 427111 w 431578"/>
                  <a:gd name="connsiteY14" fmla="*/ 206168 h 221286"/>
                  <a:gd name="connsiteX15" fmla="*/ 427111 w 431578"/>
                  <a:gd name="connsiteY15" fmla="*/ 15119 h 221286"/>
                  <a:gd name="connsiteX16" fmla="*/ 416459 w 431578"/>
                  <a:gd name="connsiteY16" fmla="*/ 4467 h 221286"/>
                  <a:gd name="connsiteX17" fmla="*/ 15119 w 431578"/>
                  <a:gd name="connsiteY17" fmla="*/ 4467 h 221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31578" h="221286">
                    <a:moveTo>
                      <a:pt x="416116" y="221287"/>
                    </a:moveTo>
                    <a:lnTo>
                      <a:pt x="15119" y="221287"/>
                    </a:lnTo>
                    <a:cubicBezTo>
                      <a:pt x="6872" y="221287"/>
                      <a:pt x="0" y="214415"/>
                      <a:pt x="0" y="206168"/>
                    </a:cubicBezTo>
                    <a:lnTo>
                      <a:pt x="0" y="15119"/>
                    </a:lnTo>
                    <a:cubicBezTo>
                      <a:pt x="0" y="6872"/>
                      <a:pt x="6872" y="0"/>
                      <a:pt x="15119" y="0"/>
                    </a:cubicBezTo>
                    <a:lnTo>
                      <a:pt x="416459" y="0"/>
                    </a:lnTo>
                    <a:cubicBezTo>
                      <a:pt x="424706" y="0"/>
                      <a:pt x="431578" y="6872"/>
                      <a:pt x="431578" y="15119"/>
                    </a:cubicBezTo>
                    <a:lnTo>
                      <a:pt x="431578" y="206168"/>
                    </a:lnTo>
                    <a:cubicBezTo>
                      <a:pt x="431234" y="214415"/>
                      <a:pt x="424362" y="221287"/>
                      <a:pt x="416116" y="221287"/>
                    </a:cubicBezTo>
                    <a:close/>
                    <a:moveTo>
                      <a:pt x="15119" y="4467"/>
                    </a:moveTo>
                    <a:cubicBezTo>
                      <a:pt x="9278" y="4467"/>
                      <a:pt x="4467" y="9278"/>
                      <a:pt x="4467" y="15119"/>
                    </a:cubicBezTo>
                    <a:lnTo>
                      <a:pt x="4467" y="206168"/>
                    </a:lnTo>
                    <a:cubicBezTo>
                      <a:pt x="4467" y="212009"/>
                      <a:pt x="9278" y="216820"/>
                      <a:pt x="15119" y="216820"/>
                    </a:cubicBezTo>
                    <a:lnTo>
                      <a:pt x="416459" y="216820"/>
                    </a:lnTo>
                    <a:cubicBezTo>
                      <a:pt x="422301" y="216820"/>
                      <a:pt x="427111" y="212009"/>
                      <a:pt x="427111" y="206168"/>
                    </a:cubicBezTo>
                    <a:lnTo>
                      <a:pt x="427111" y="15119"/>
                    </a:lnTo>
                    <a:cubicBezTo>
                      <a:pt x="427111" y="9278"/>
                      <a:pt x="422301" y="4467"/>
                      <a:pt x="416459" y="4467"/>
                    </a:cubicBezTo>
                    <a:lnTo>
                      <a:pt x="15119" y="4467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9" name="Freihandform: Form 1138">
                <a:extLst>
                  <a:ext uri="{FF2B5EF4-FFF2-40B4-BE49-F238E27FC236}">
                    <a16:creationId xmlns:a16="http://schemas.microsoft.com/office/drawing/2014/main" id="{51AEFA5E-8D17-761E-8FC8-DE58537F2DB8}"/>
                  </a:ext>
                </a:extLst>
              </p:cNvPr>
              <p:cNvSpPr/>
              <p:nvPr/>
            </p:nvSpPr>
            <p:spPr>
              <a:xfrm>
                <a:off x="10702803" y="3506087"/>
                <a:ext cx="40546" cy="21991"/>
              </a:xfrm>
              <a:custGeom>
                <a:avLst/>
                <a:gdLst>
                  <a:gd name="connsiteX0" fmla="*/ 0 w 40546"/>
                  <a:gd name="connsiteY0" fmla="*/ 0 h 21991"/>
                  <a:gd name="connsiteX1" fmla="*/ 40546 w 40546"/>
                  <a:gd name="connsiteY1" fmla="*/ 0 h 21991"/>
                  <a:gd name="connsiteX2" fmla="*/ 40546 w 40546"/>
                  <a:gd name="connsiteY2" fmla="*/ 21991 h 21991"/>
                  <a:gd name="connsiteX3" fmla="*/ 0 w 40546"/>
                  <a:gd name="connsiteY3" fmla="*/ 21991 h 2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546" h="21991">
                    <a:moveTo>
                      <a:pt x="0" y="0"/>
                    </a:moveTo>
                    <a:lnTo>
                      <a:pt x="40546" y="0"/>
                    </a:lnTo>
                    <a:lnTo>
                      <a:pt x="40546" y="21991"/>
                    </a:lnTo>
                    <a:lnTo>
                      <a:pt x="0" y="21991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40" name="Freihandform: Form 1139">
                <a:extLst>
                  <a:ext uri="{FF2B5EF4-FFF2-40B4-BE49-F238E27FC236}">
                    <a16:creationId xmlns:a16="http://schemas.microsoft.com/office/drawing/2014/main" id="{56C4F76F-EF40-BD69-16F5-32BB5466945F}"/>
                  </a:ext>
                </a:extLst>
              </p:cNvPr>
              <p:cNvSpPr/>
              <p:nvPr/>
            </p:nvSpPr>
            <p:spPr>
              <a:xfrm>
                <a:off x="10975975" y="3506087"/>
                <a:ext cx="40546" cy="21991"/>
              </a:xfrm>
              <a:custGeom>
                <a:avLst/>
                <a:gdLst>
                  <a:gd name="connsiteX0" fmla="*/ 0 w 40546"/>
                  <a:gd name="connsiteY0" fmla="*/ 0 h 21991"/>
                  <a:gd name="connsiteX1" fmla="*/ 40546 w 40546"/>
                  <a:gd name="connsiteY1" fmla="*/ 0 h 21991"/>
                  <a:gd name="connsiteX2" fmla="*/ 40546 w 40546"/>
                  <a:gd name="connsiteY2" fmla="*/ 21991 h 21991"/>
                  <a:gd name="connsiteX3" fmla="*/ 0 w 40546"/>
                  <a:gd name="connsiteY3" fmla="*/ 21991 h 21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546" h="21991">
                    <a:moveTo>
                      <a:pt x="0" y="0"/>
                    </a:moveTo>
                    <a:lnTo>
                      <a:pt x="40546" y="0"/>
                    </a:lnTo>
                    <a:lnTo>
                      <a:pt x="40546" y="21991"/>
                    </a:lnTo>
                    <a:lnTo>
                      <a:pt x="0" y="21991"/>
                    </a:lnTo>
                    <a:close/>
                  </a:path>
                </a:pathLst>
              </a:custGeom>
              <a:solidFill>
                <a:srgbClr val="012146"/>
              </a:solidFill>
              <a:ln w="33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" name="Grafik 1127">
            <a:extLst>
              <a:ext uri="{FF2B5EF4-FFF2-40B4-BE49-F238E27FC236}">
                <a16:creationId xmlns:a16="http://schemas.microsoft.com/office/drawing/2014/main" id="{77E4C320-17DF-4D16-551D-BFB3DDDB9632}"/>
              </a:ext>
            </a:extLst>
          </p:cNvPr>
          <p:cNvGrpSpPr/>
          <p:nvPr/>
        </p:nvGrpSpPr>
        <p:grpSpPr>
          <a:xfrm>
            <a:off x="10676756" y="5362163"/>
            <a:ext cx="431578" cy="256678"/>
            <a:chOff x="10644389" y="3506087"/>
            <a:chExt cx="431578" cy="256678"/>
          </a:xfrm>
          <a:solidFill>
            <a:srgbClr val="012146"/>
          </a:solidFill>
        </p:grpSpPr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82054377-5724-A823-2426-88E10CE6E864}"/>
                </a:ext>
              </a:extLst>
            </p:cNvPr>
            <p:cNvSpPr/>
            <p:nvPr/>
          </p:nvSpPr>
          <p:spPr>
            <a:xfrm>
              <a:off x="10662944" y="3561065"/>
              <a:ext cx="62193" cy="183489"/>
            </a:xfrm>
            <a:custGeom>
              <a:avLst/>
              <a:gdLst>
                <a:gd name="connsiteX0" fmla="*/ 62194 w 62193"/>
                <a:gd name="connsiteY0" fmla="*/ 183489 h 183489"/>
                <a:gd name="connsiteX1" fmla="*/ 0 w 62193"/>
                <a:gd name="connsiteY1" fmla="*/ 183489 h 183489"/>
                <a:gd name="connsiteX2" fmla="*/ 0 w 62193"/>
                <a:gd name="connsiteY2" fmla="*/ 0 h 183489"/>
                <a:gd name="connsiteX3" fmla="*/ 62194 w 62193"/>
                <a:gd name="connsiteY3" fmla="*/ 0 h 183489"/>
                <a:gd name="connsiteX4" fmla="*/ 62194 w 62193"/>
                <a:gd name="connsiteY4" fmla="*/ 183489 h 183489"/>
                <a:gd name="connsiteX5" fmla="*/ 4467 w 62193"/>
                <a:gd name="connsiteY5" fmla="*/ 179366 h 183489"/>
                <a:gd name="connsiteX6" fmla="*/ 58071 w 62193"/>
                <a:gd name="connsiteY6" fmla="*/ 179366 h 183489"/>
                <a:gd name="connsiteX7" fmla="*/ 58071 w 62193"/>
                <a:gd name="connsiteY7" fmla="*/ 4467 h 183489"/>
                <a:gd name="connsiteX8" fmla="*/ 4467 w 62193"/>
                <a:gd name="connsiteY8" fmla="*/ 4467 h 183489"/>
                <a:gd name="connsiteX9" fmla="*/ 4467 w 62193"/>
                <a:gd name="connsiteY9" fmla="*/ 179366 h 1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193" h="183489">
                  <a:moveTo>
                    <a:pt x="62194" y="183489"/>
                  </a:moveTo>
                  <a:lnTo>
                    <a:pt x="0" y="183489"/>
                  </a:lnTo>
                  <a:lnTo>
                    <a:pt x="0" y="0"/>
                  </a:lnTo>
                  <a:lnTo>
                    <a:pt x="62194" y="0"/>
                  </a:lnTo>
                  <a:lnTo>
                    <a:pt x="62194" y="183489"/>
                  </a:lnTo>
                  <a:close/>
                  <a:moveTo>
                    <a:pt x="4467" y="179366"/>
                  </a:moveTo>
                  <a:lnTo>
                    <a:pt x="58071" y="179366"/>
                  </a:lnTo>
                  <a:lnTo>
                    <a:pt x="58071" y="4467"/>
                  </a:lnTo>
                  <a:lnTo>
                    <a:pt x="4467" y="4467"/>
                  </a:lnTo>
                  <a:lnTo>
                    <a:pt x="4467" y="179366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AC42ABC4-ECBD-7F61-A9AA-C1EC76DB2F47}"/>
                </a:ext>
              </a:extLst>
            </p:cNvPr>
            <p:cNvSpPr/>
            <p:nvPr/>
          </p:nvSpPr>
          <p:spPr>
            <a:xfrm>
              <a:off x="10730636" y="3561065"/>
              <a:ext cx="62193" cy="183489"/>
            </a:xfrm>
            <a:custGeom>
              <a:avLst/>
              <a:gdLst>
                <a:gd name="connsiteX0" fmla="*/ 62194 w 62193"/>
                <a:gd name="connsiteY0" fmla="*/ 183489 h 183489"/>
                <a:gd name="connsiteX1" fmla="*/ 0 w 62193"/>
                <a:gd name="connsiteY1" fmla="*/ 183489 h 183489"/>
                <a:gd name="connsiteX2" fmla="*/ 0 w 62193"/>
                <a:gd name="connsiteY2" fmla="*/ 0 h 183489"/>
                <a:gd name="connsiteX3" fmla="*/ 62194 w 62193"/>
                <a:gd name="connsiteY3" fmla="*/ 0 h 183489"/>
                <a:gd name="connsiteX4" fmla="*/ 62194 w 62193"/>
                <a:gd name="connsiteY4" fmla="*/ 183489 h 183489"/>
                <a:gd name="connsiteX5" fmla="*/ 4123 w 62193"/>
                <a:gd name="connsiteY5" fmla="*/ 179366 h 183489"/>
                <a:gd name="connsiteX6" fmla="*/ 57727 w 62193"/>
                <a:gd name="connsiteY6" fmla="*/ 179366 h 183489"/>
                <a:gd name="connsiteX7" fmla="*/ 57727 w 62193"/>
                <a:gd name="connsiteY7" fmla="*/ 4467 h 183489"/>
                <a:gd name="connsiteX8" fmla="*/ 4123 w 62193"/>
                <a:gd name="connsiteY8" fmla="*/ 4467 h 183489"/>
                <a:gd name="connsiteX9" fmla="*/ 4123 w 62193"/>
                <a:gd name="connsiteY9" fmla="*/ 179366 h 1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193" h="183489">
                  <a:moveTo>
                    <a:pt x="62194" y="183489"/>
                  </a:moveTo>
                  <a:lnTo>
                    <a:pt x="0" y="183489"/>
                  </a:lnTo>
                  <a:lnTo>
                    <a:pt x="0" y="0"/>
                  </a:lnTo>
                  <a:lnTo>
                    <a:pt x="62194" y="0"/>
                  </a:lnTo>
                  <a:lnTo>
                    <a:pt x="62194" y="183489"/>
                  </a:lnTo>
                  <a:close/>
                  <a:moveTo>
                    <a:pt x="4123" y="179366"/>
                  </a:moveTo>
                  <a:lnTo>
                    <a:pt x="57727" y="179366"/>
                  </a:lnTo>
                  <a:lnTo>
                    <a:pt x="57727" y="4467"/>
                  </a:lnTo>
                  <a:lnTo>
                    <a:pt x="4123" y="4467"/>
                  </a:lnTo>
                  <a:lnTo>
                    <a:pt x="4123" y="179366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514C7589-A78B-83C5-1390-7051B68A4381}"/>
                </a:ext>
              </a:extLst>
            </p:cNvPr>
            <p:cNvSpPr/>
            <p:nvPr/>
          </p:nvSpPr>
          <p:spPr>
            <a:xfrm>
              <a:off x="10926839" y="3561065"/>
              <a:ext cx="62193" cy="183489"/>
            </a:xfrm>
            <a:custGeom>
              <a:avLst/>
              <a:gdLst>
                <a:gd name="connsiteX0" fmla="*/ 62194 w 62193"/>
                <a:gd name="connsiteY0" fmla="*/ 183489 h 183489"/>
                <a:gd name="connsiteX1" fmla="*/ 0 w 62193"/>
                <a:gd name="connsiteY1" fmla="*/ 183489 h 183489"/>
                <a:gd name="connsiteX2" fmla="*/ 0 w 62193"/>
                <a:gd name="connsiteY2" fmla="*/ 0 h 183489"/>
                <a:gd name="connsiteX3" fmla="*/ 62194 w 62193"/>
                <a:gd name="connsiteY3" fmla="*/ 0 h 183489"/>
                <a:gd name="connsiteX4" fmla="*/ 62194 w 62193"/>
                <a:gd name="connsiteY4" fmla="*/ 183489 h 183489"/>
                <a:gd name="connsiteX5" fmla="*/ 4123 w 62193"/>
                <a:gd name="connsiteY5" fmla="*/ 179366 h 183489"/>
                <a:gd name="connsiteX6" fmla="*/ 57727 w 62193"/>
                <a:gd name="connsiteY6" fmla="*/ 179366 h 183489"/>
                <a:gd name="connsiteX7" fmla="*/ 57727 w 62193"/>
                <a:gd name="connsiteY7" fmla="*/ 4467 h 183489"/>
                <a:gd name="connsiteX8" fmla="*/ 4123 w 62193"/>
                <a:gd name="connsiteY8" fmla="*/ 4467 h 183489"/>
                <a:gd name="connsiteX9" fmla="*/ 4123 w 62193"/>
                <a:gd name="connsiteY9" fmla="*/ 179366 h 1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193" h="183489">
                  <a:moveTo>
                    <a:pt x="62194" y="183489"/>
                  </a:moveTo>
                  <a:lnTo>
                    <a:pt x="0" y="183489"/>
                  </a:lnTo>
                  <a:lnTo>
                    <a:pt x="0" y="0"/>
                  </a:lnTo>
                  <a:lnTo>
                    <a:pt x="62194" y="0"/>
                  </a:lnTo>
                  <a:lnTo>
                    <a:pt x="62194" y="183489"/>
                  </a:lnTo>
                  <a:close/>
                  <a:moveTo>
                    <a:pt x="4123" y="179366"/>
                  </a:moveTo>
                  <a:lnTo>
                    <a:pt x="57727" y="179366"/>
                  </a:lnTo>
                  <a:lnTo>
                    <a:pt x="57727" y="4467"/>
                  </a:lnTo>
                  <a:lnTo>
                    <a:pt x="4123" y="4467"/>
                  </a:lnTo>
                  <a:lnTo>
                    <a:pt x="4123" y="179366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79EB655-F8CC-3ED7-77E0-93D274B1C7F6}"/>
                </a:ext>
              </a:extLst>
            </p:cNvPr>
            <p:cNvSpPr/>
            <p:nvPr/>
          </p:nvSpPr>
          <p:spPr>
            <a:xfrm>
              <a:off x="10994187" y="3561065"/>
              <a:ext cx="62193" cy="183489"/>
            </a:xfrm>
            <a:custGeom>
              <a:avLst/>
              <a:gdLst>
                <a:gd name="connsiteX0" fmla="*/ 62194 w 62193"/>
                <a:gd name="connsiteY0" fmla="*/ 183489 h 183489"/>
                <a:gd name="connsiteX1" fmla="*/ 0 w 62193"/>
                <a:gd name="connsiteY1" fmla="*/ 183489 h 183489"/>
                <a:gd name="connsiteX2" fmla="*/ 0 w 62193"/>
                <a:gd name="connsiteY2" fmla="*/ 0 h 183489"/>
                <a:gd name="connsiteX3" fmla="*/ 62194 w 62193"/>
                <a:gd name="connsiteY3" fmla="*/ 0 h 183489"/>
                <a:gd name="connsiteX4" fmla="*/ 62194 w 62193"/>
                <a:gd name="connsiteY4" fmla="*/ 183489 h 183489"/>
                <a:gd name="connsiteX5" fmla="*/ 4467 w 62193"/>
                <a:gd name="connsiteY5" fmla="*/ 179366 h 183489"/>
                <a:gd name="connsiteX6" fmla="*/ 58071 w 62193"/>
                <a:gd name="connsiteY6" fmla="*/ 179366 h 183489"/>
                <a:gd name="connsiteX7" fmla="*/ 58071 w 62193"/>
                <a:gd name="connsiteY7" fmla="*/ 4467 h 183489"/>
                <a:gd name="connsiteX8" fmla="*/ 4467 w 62193"/>
                <a:gd name="connsiteY8" fmla="*/ 4467 h 183489"/>
                <a:gd name="connsiteX9" fmla="*/ 4467 w 62193"/>
                <a:gd name="connsiteY9" fmla="*/ 179366 h 1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193" h="183489">
                  <a:moveTo>
                    <a:pt x="62194" y="183489"/>
                  </a:moveTo>
                  <a:lnTo>
                    <a:pt x="0" y="183489"/>
                  </a:lnTo>
                  <a:lnTo>
                    <a:pt x="0" y="0"/>
                  </a:lnTo>
                  <a:lnTo>
                    <a:pt x="62194" y="0"/>
                  </a:lnTo>
                  <a:lnTo>
                    <a:pt x="62194" y="183489"/>
                  </a:lnTo>
                  <a:close/>
                  <a:moveTo>
                    <a:pt x="4467" y="179366"/>
                  </a:moveTo>
                  <a:lnTo>
                    <a:pt x="58071" y="179366"/>
                  </a:lnTo>
                  <a:lnTo>
                    <a:pt x="58071" y="4467"/>
                  </a:lnTo>
                  <a:lnTo>
                    <a:pt x="4467" y="4467"/>
                  </a:lnTo>
                  <a:lnTo>
                    <a:pt x="4467" y="179366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1B65B851-A989-6FA4-6E20-0FDCF0523410}"/>
                </a:ext>
              </a:extLst>
            </p:cNvPr>
            <p:cNvSpPr/>
            <p:nvPr/>
          </p:nvSpPr>
          <p:spPr>
            <a:xfrm>
              <a:off x="10795579" y="3561065"/>
              <a:ext cx="128167" cy="183489"/>
            </a:xfrm>
            <a:custGeom>
              <a:avLst/>
              <a:gdLst>
                <a:gd name="connsiteX0" fmla="*/ 128168 w 128167"/>
                <a:gd name="connsiteY0" fmla="*/ 183489 h 183489"/>
                <a:gd name="connsiteX1" fmla="*/ 0 w 128167"/>
                <a:gd name="connsiteY1" fmla="*/ 183489 h 183489"/>
                <a:gd name="connsiteX2" fmla="*/ 0 w 128167"/>
                <a:gd name="connsiteY2" fmla="*/ 0 h 183489"/>
                <a:gd name="connsiteX3" fmla="*/ 128168 w 128167"/>
                <a:gd name="connsiteY3" fmla="*/ 0 h 183489"/>
                <a:gd name="connsiteX4" fmla="*/ 128168 w 128167"/>
                <a:gd name="connsiteY4" fmla="*/ 183489 h 183489"/>
                <a:gd name="connsiteX5" fmla="*/ 4467 w 128167"/>
                <a:gd name="connsiteY5" fmla="*/ 179366 h 183489"/>
                <a:gd name="connsiteX6" fmla="*/ 123701 w 128167"/>
                <a:gd name="connsiteY6" fmla="*/ 179366 h 183489"/>
                <a:gd name="connsiteX7" fmla="*/ 123701 w 128167"/>
                <a:gd name="connsiteY7" fmla="*/ 4467 h 183489"/>
                <a:gd name="connsiteX8" fmla="*/ 4467 w 128167"/>
                <a:gd name="connsiteY8" fmla="*/ 4467 h 183489"/>
                <a:gd name="connsiteX9" fmla="*/ 4467 w 128167"/>
                <a:gd name="connsiteY9" fmla="*/ 179366 h 18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167" h="183489">
                  <a:moveTo>
                    <a:pt x="128168" y="183489"/>
                  </a:moveTo>
                  <a:lnTo>
                    <a:pt x="0" y="183489"/>
                  </a:lnTo>
                  <a:lnTo>
                    <a:pt x="0" y="0"/>
                  </a:lnTo>
                  <a:lnTo>
                    <a:pt x="128168" y="0"/>
                  </a:lnTo>
                  <a:lnTo>
                    <a:pt x="128168" y="183489"/>
                  </a:lnTo>
                  <a:close/>
                  <a:moveTo>
                    <a:pt x="4467" y="179366"/>
                  </a:moveTo>
                  <a:lnTo>
                    <a:pt x="123701" y="179366"/>
                  </a:lnTo>
                  <a:lnTo>
                    <a:pt x="123701" y="4467"/>
                  </a:lnTo>
                  <a:lnTo>
                    <a:pt x="4467" y="4467"/>
                  </a:lnTo>
                  <a:lnTo>
                    <a:pt x="4467" y="179366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7C19CA7-9E9C-C6B9-D008-A42362D455E1}"/>
                </a:ext>
              </a:extLst>
            </p:cNvPr>
            <p:cNvSpPr/>
            <p:nvPr/>
          </p:nvSpPr>
          <p:spPr>
            <a:xfrm>
              <a:off x="10824442" y="3568968"/>
              <a:ext cx="63912" cy="166995"/>
            </a:xfrm>
            <a:custGeom>
              <a:avLst/>
              <a:gdLst>
                <a:gd name="connsiteX0" fmla="*/ 58414 w 63912"/>
                <a:gd name="connsiteY0" fmla="*/ 0 h 166995"/>
                <a:gd name="connsiteX1" fmla="*/ 0 w 63912"/>
                <a:gd name="connsiteY1" fmla="*/ 95868 h 166995"/>
                <a:gd name="connsiteX2" fmla="*/ 29207 w 63912"/>
                <a:gd name="connsiteY2" fmla="*/ 95868 h 166995"/>
                <a:gd name="connsiteX3" fmla="*/ 5154 w 63912"/>
                <a:gd name="connsiteY3" fmla="*/ 166996 h 166995"/>
                <a:gd name="connsiteX4" fmla="*/ 63912 w 63912"/>
                <a:gd name="connsiteY4" fmla="*/ 73190 h 166995"/>
                <a:gd name="connsiteX5" fmla="*/ 35392 w 63912"/>
                <a:gd name="connsiteY5" fmla="*/ 73190 h 16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912" h="166995">
                  <a:moveTo>
                    <a:pt x="58414" y="0"/>
                  </a:moveTo>
                  <a:lnTo>
                    <a:pt x="0" y="95868"/>
                  </a:lnTo>
                  <a:lnTo>
                    <a:pt x="29207" y="95868"/>
                  </a:lnTo>
                  <a:lnTo>
                    <a:pt x="5154" y="166996"/>
                  </a:lnTo>
                  <a:lnTo>
                    <a:pt x="63912" y="73190"/>
                  </a:lnTo>
                  <a:lnTo>
                    <a:pt x="35392" y="73190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525870C-85D9-90C4-80EF-06FD70CFF952}"/>
                </a:ext>
              </a:extLst>
            </p:cNvPr>
            <p:cNvSpPr/>
            <p:nvPr/>
          </p:nvSpPr>
          <p:spPr>
            <a:xfrm>
              <a:off x="10644389" y="3541479"/>
              <a:ext cx="431578" cy="221286"/>
            </a:xfrm>
            <a:custGeom>
              <a:avLst/>
              <a:gdLst>
                <a:gd name="connsiteX0" fmla="*/ 416116 w 431578"/>
                <a:gd name="connsiteY0" fmla="*/ 221287 h 221286"/>
                <a:gd name="connsiteX1" fmla="*/ 15119 w 431578"/>
                <a:gd name="connsiteY1" fmla="*/ 221287 h 221286"/>
                <a:gd name="connsiteX2" fmla="*/ 0 w 431578"/>
                <a:gd name="connsiteY2" fmla="*/ 206168 h 221286"/>
                <a:gd name="connsiteX3" fmla="*/ 0 w 431578"/>
                <a:gd name="connsiteY3" fmla="*/ 15119 h 221286"/>
                <a:gd name="connsiteX4" fmla="*/ 15119 w 431578"/>
                <a:gd name="connsiteY4" fmla="*/ 0 h 221286"/>
                <a:gd name="connsiteX5" fmla="*/ 416459 w 431578"/>
                <a:gd name="connsiteY5" fmla="*/ 0 h 221286"/>
                <a:gd name="connsiteX6" fmla="*/ 431578 w 431578"/>
                <a:gd name="connsiteY6" fmla="*/ 15119 h 221286"/>
                <a:gd name="connsiteX7" fmla="*/ 431578 w 431578"/>
                <a:gd name="connsiteY7" fmla="*/ 206168 h 221286"/>
                <a:gd name="connsiteX8" fmla="*/ 416116 w 431578"/>
                <a:gd name="connsiteY8" fmla="*/ 221287 h 221286"/>
                <a:gd name="connsiteX9" fmla="*/ 15119 w 431578"/>
                <a:gd name="connsiteY9" fmla="*/ 4467 h 221286"/>
                <a:gd name="connsiteX10" fmla="*/ 4467 w 431578"/>
                <a:gd name="connsiteY10" fmla="*/ 15119 h 221286"/>
                <a:gd name="connsiteX11" fmla="*/ 4467 w 431578"/>
                <a:gd name="connsiteY11" fmla="*/ 206168 h 221286"/>
                <a:gd name="connsiteX12" fmla="*/ 15119 w 431578"/>
                <a:gd name="connsiteY12" fmla="*/ 216820 h 221286"/>
                <a:gd name="connsiteX13" fmla="*/ 416459 w 431578"/>
                <a:gd name="connsiteY13" fmla="*/ 216820 h 221286"/>
                <a:gd name="connsiteX14" fmla="*/ 427111 w 431578"/>
                <a:gd name="connsiteY14" fmla="*/ 206168 h 221286"/>
                <a:gd name="connsiteX15" fmla="*/ 427111 w 431578"/>
                <a:gd name="connsiteY15" fmla="*/ 15119 h 221286"/>
                <a:gd name="connsiteX16" fmla="*/ 416459 w 431578"/>
                <a:gd name="connsiteY16" fmla="*/ 4467 h 221286"/>
                <a:gd name="connsiteX17" fmla="*/ 15119 w 431578"/>
                <a:gd name="connsiteY17" fmla="*/ 4467 h 22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1578" h="221286">
                  <a:moveTo>
                    <a:pt x="416116" y="221287"/>
                  </a:moveTo>
                  <a:lnTo>
                    <a:pt x="15119" y="221287"/>
                  </a:lnTo>
                  <a:cubicBezTo>
                    <a:pt x="6872" y="221287"/>
                    <a:pt x="0" y="214415"/>
                    <a:pt x="0" y="206168"/>
                  </a:cubicBezTo>
                  <a:lnTo>
                    <a:pt x="0" y="15119"/>
                  </a:lnTo>
                  <a:cubicBezTo>
                    <a:pt x="0" y="6872"/>
                    <a:pt x="6872" y="0"/>
                    <a:pt x="15119" y="0"/>
                  </a:cubicBezTo>
                  <a:lnTo>
                    <a:pt x="416459" y="0"/>
                  </a:lnTo>
                  <a:cubicBezTo>
                    <a:pt x="424706" y="0"/>
                    <a:pt x="431578" y="6872"/>
                    <a:pt x="431578" y="15119"/>
                  </a:cubicBezTo>
                  <a:lnTo>
                    <a:pt x="431578" y="206168"/>
                  </a:lnTo>
                  <a:cubicBezTo>
                    <a:pt x="431234" y="214415"/>
                    <a:pt x="424362" y="221287"/>
                    <a:pt x="416116" y="221287"/>
                  </a:cubicBezTo>
                  <a:close/>
                  <a:moveTo>
                    <a:pt x="15119" y="4467"/>
                  </a:moveTo>
                  <a:cubicBezTo>
                    <a:pt x="9278" y="4467"/>
                    <a:pt x="4467" y="9278"/>
                    <a:pt x="4467" y="15119"/>
                  </a:cubicBezTo>
                  <a:lnTo>
                    <a:pt x="4467" y="206168"/>
                  </a:lnTo>
                  <a:cubicBezTo>
                    <a:pt x="4467" y="212009"/>
                    <a:pt x="9278" y="216820"/>
                    <a:pt x="15119" y="216820"/>
                  </a:cubicBezTo>
                  <a:lnTo>
                    <a:pt x="416459" y="216820"/>
                  </a:lnTo>
                  <a:cubicBezTo>
                    <a:pt x="422301" y="216820"/>
                    <a:pt x="427111" y="212009"/>
                    <a:pt x="427111" y="206168"/>
                  </a:cubicBezTo>
                  <a:lnTo>
                    <a:pt x="427111" y="15119"/>
                  </a:lnTo>
                  <a:cubicBezTo>
                    <a:pt x="427111" y="9278"/>
                    <a:pt x="422301" y="4467"/>
                    <a:pt x="416459" y="4467"/>
                  </a:cubicBezTo>
                  <a:lnTo>
                    <a:pt x="15119" y="4467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80EE753-0AA8-25CF-FD6B-3657B48632B2}"/>
                </a:ext>
              </a:extLst>
            </p:cNvPr>
            <p:cNvSpPr/>
            <p:nvPr/>
          </p:nvSpPr>
          <p:spPr>
            <a:xfrm>
              <a:off x="10702803" y="3506087"/>
              <a:ext cx="40546" cy="21991"/>
            </a:xfrm>
            <a:custGeom>
              <a:avLst/>
              <a:gdLst>
                <a:gd name="connsiteX0" fmla="*/ 0 w 40546"/>
                <a:gd name="connsiteY0" fmla="*/ 0 h 21991"/>
                <a:gd name="connsiteX1" fmla="*/ 40546 w 40546"/>
                <a:gd name="connsiteY1" fmla="*/ 0 h 21991"/>
                <a:gd name="connsiteX2" fmla="*/ 40546 w 40546"/>
                <a:gd name="connsiteY2" fmla="*/ 21991 h 21991"/>
                <a:gd name="connsiteX3" fmla="*/ 0 w 40546"/>
                <a:gd name="connsiteY3" fmla="*/ 21991 h 21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546" h="21991">
                  <a:moveTo>
                    <a:pt x="0" y="0"/>
                  </a:moveTo>
                  <a:lnTo>
                    <a:pt x="40546" y="0"/>
                  </a:lnTo>
                  <a:lnTo>
                    <a:pt x="40546" y="21991"/>
                  </a:lnTo>
                  <a:lnTo>
                    <a:pt x="0" y="21991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C82B644-4D82-EE72-F549-74A8E2567FD1}"/>
                </a:ext>
              </a:extLst>
            </p:cNvPr>
            <p:cNvSpPr/>
            <p:nvPr/>
          </p:nvSpPr>
          <p:spPr>
            <a:xfrm>
              <a:off x="10975975" y="3506087"/>
              <a:ext cx="40546" cy="21991"/>
            </a:xfrm>
            <a:custGeom>
              <a:avLst/>
              <a:gdLst>
                <a:gd name="connsiteX0" fmla="*/ 0 w 40546"/>
                <a:gd name="connsiteY0" fmla="*/ 0 h 21991"/>
                <a:gd name="connsiteX1" fmla="*/ 40546 w 40546"/>
                <a:gd name="connsiteY1" fmla="*/ 0 h 21991"/>
                <a:gd name="connsiteX2" fmla="*/ 40546 w 40546"/>
                <a:gd name="connsiteY2" fmla="*/ 21991 h 21991"/>
                <a:gd name="connsiteX3" fmla="*/ 0 w 40546"/>
                <a:gd name="connsiteY3" fmla="*/ 21991 h 21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546" h="21991">
                  <a:moveTo>
                    <a:pt x="0" y="0"/>
                  </a:moveTo>
                  <a:lnTo>
                    <a:pt x="40546" y="0"/>
                  </a:lnTo>
                  <a:lnTo>
                    <a:pt x="40546" y="21991"/>
                  </a:lnTo>
                  <a:lnTo>
                    <a:pt x="0" y="21991"/>
                  </a:lnTo>
                  <a:close/>
                </a:path>
              </a:pathLst>
            </a:custGeom>
            <a:solidFill>
              <a:srgbClr val="012146"/>
            </a:solidFill>
            <a:ln w="33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5E6A3CF6-3115-0DA7-7990-1DA38948EDAD}"/>
              </a:ext>
            </a:extLst>
          </p:cNvPr>
          <p:cNvSpPr/>
          <p:nvPr/>
        </p:nvSpPr>
        <p:spPr>
          <a:xfrm>
            <a:off x="10176466" y="5417141"/>
            <a:ext cx="128167" cy="183489"/>
          </a:xfrm>
          <a:custGeom>
            <a:avLst/>
            <a:gdLst>
              <a:gd name="connsiteX0" fmla="*/ 128168 w 128167"/>
              <a:gd name="connsiteY0" fmla="*/ 183489 h 183489"/>
              <a:gd name="connsiteX1" fmla="*/ 0 w 128167"/>
              <a:gd name="connsiteY1" fmla="*/ 183489 h 183489"/>
              <a:gd name="connsiteX2" fmla="*/ 0 w 128167"/>
              <a:gd name="connsiteY2" fmla="*/ 0 h 183489"/>
              <a:gd name="connsiteX3" fmla="*/ 128168 w 128167"/>
              <a:gd name="connsiteY3" fmla="*/ 0 h 183489"/>
              <a:gd name="connsiteX4" fmla="*/ 128168 w 128167"/>
              <a:gd name="connsiteY4" fmla="*/ 183489 h 183489"/>
              <a:gd name="connsiteX5" fmla="*/ 4467 w 128167"/>
              <a:gd name="connsiteY5" fmla="*/ 179366 h 183489"/>
              <a:gd name="connsiteX6" fmla="*/ 123701 w 128167"/>
              <a:gd name="connsiteY6" fmla="*/ 179366 h 183489"/>
              <a:gd name="connsiteX7" fmla="*/ 123701 w 128167"/>
              <a:gd name="connsiteY7" fmla="*/ 4467 h 183489"/>
              <a:gd name="connsiteX8" fmla="*/ 4467 w 128167"/>
              <a:gd name="connsiteY8" fmla="*/ 4467 h 183489"/>
              <a:gd name="connsiteX9" fmla="*/ 4467 w 128167"/>
              <a:gd name="connsiteY9" fmla="*/ 179366 h 18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8167" h="183489">
                <a:moveTo>
                  <a:pt x="128168" y="183489"/>
                </a:moveTo>
                <a:lnTo>
                  <a:pt x="0" y="183489"/>
                </a:lnTo>
                <a:lnTo>
                  <a:pt x="0" y="0"/>
                </a:lnTo>
                <a:lnTo>
                  <a:pt x="128168" y="0"/>
                </a:lnTo>
                <a:lnTo>
                  <a:pt x="128168" y="183489"/>
                </a:lnTo>
                <a:close/>
                <a:moveTo>
                  <a:pt x="4467" y="179366"/>
                </a:moveTo>
                <a:lnTo>
                  <a:pt x="123701" y="179366"/>
                </a:lnTo>
                <a:lnTo>
                  <a:pt x="123701" y="4467"/>
                </a:lnTo>
                <a:lnTo>
                  <a:pt x="4467" y="4467"/>
                </a:lnTo>
                <a:lnTo>
                  <a:pt x="4467" y="179366"/>
                </a:lnTo>
                <a:close/>
              </a:path>
            </a:pathLst>
          </a:custGeom>
          <a:solidFill>
            <a:srgbClr val="012146"/>
          </a:solidFill>
          <a:ln w="33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7E9E70E3-9131-127B-F8C5-7A5B72DAD891}"/>
              </a:ext>
            </a:extLst>
          </p:cNvPr>
          <p:cNvSpPr/>
          <p:nvPr/>
        </p:nvSpPr>
        <p:spPr>
          <a:xfrm>
            <a:off x="10205329" y="5425044"/>
            <a:ext cx="63912" cy="166995"/>
          </a:xfrm>
          <a:custGeom>
            <a:avLst/>
            <a:gdLst>
              <a:gd name="connsiteX0" fmla="*/ 58414 w 63912"/>
              <a:gd name="connsiteY0" fmla="*/ 0 h 166995"/>
              <a:gd name="connsiteX1" fmla="*/ 0 w 63912"/>
              <a:gd name="connsiteY1" fmla="*/ 95868 h 166995"/>
              <a:gd name="connsiteX2" fmla="*/ 29207 w 63912"/>
              <a:gd name="connsiteY2" fmla="*/ 95868 h 166995"/>
              <a:gd name="connsiteX3" fmla="*/ 5154 w 63912"/>
              <a:gd name="connsiteY3" fmla="*/ 166996 h 166995"/>
              <a:gd name="connsiteX4" fmla="*/ 63912 w 63912"/>
              <a:gd name="connsiteY4" fmla="*/ 73190 h 166995"/>
              <a:gd name="connsiteX5" fmla="*/ 35392 w 63912"/>
              <a:gd name="connsiteY5" fmla="*/ 73190 h 166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912" h="166995">
                <a:moveTo>
                  <a:pt x="58414" y="0"/>
                </a:moveTo>
                <a:lnTo>
                  <a:pt x="0" y="95868"/>
                </a:lnTo>
                <a:lnTo>
                  <a:pt x="29207" y="95868"/>
                </a:lnTo>
                <a:lnTo>
                  <a:pt x="5154" y="166996"/>
                </a:lnTo>
                <a:lnTo>
                  <a:pt x="63912" y="73190"/>
                </a:lnTo>
                <a:lnTo>
                  <a:pt x="35392" y="73190"/>
                </a:lnTo>
                <a:close/>
              </a:path>
            </a:pathLst>
          </a:custGeom>
          <a:solidFill>
            <a:srgbClr val="012146"/>
          </a:solidFill>
          <a:ln w="33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8" name="Ellipse 1187">
            <a:extLst>
              <a:ext uri="{FF2B5EF4-FFF2-40B4-BE49-F238E27FC236}">
                <a16:creationId xmlns:a16="http://schemas.microsoft.com/office/drawing/2014/main" id="{63D8D12F-86A5-4E31-3918-2B75CF6CED87}"/>
              </a:ext>
            </a:extLst>
          </p:cNvPr>
          <p:cNvSpPr/>
          <p:nvPr/>
        </p:nvSpPr>
        <p:spPr>
          <a:xfrm>
            <a:off x="10384534" y="4792718"/>
            <a:ext cx="914400" cy="914400"/>
          </a:xfrm>
          <a:prstGeom prst="ellipse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9" name="Freihandform: Form 1188">
            <a:extLst>
              <a:ext uri="{FF2B5EF4-FFF2-40B4-BE49-F238E27FC236}">
                <a16:creationId xmlns:a16="http://schemas.microsoft.com/office/drawing/2014/main" id="{EFB30802-62C9-0B30-99B2-B59685954B37}"/>
              </a:ext>
            </a:extLst>
          </p:cNvPr>
          <p:cNvSpPr/>
          <p:nvPr/>
        </p:nvSpPr>
        <p:spPr>
          <a:xfrm>
            <a:off x="10462365" y="5093024"/>
            <a:ext cx="40991" cy="51275"/>
          </a:xfrm>
          <a:custGeom>
            <a:avLst/>
            <a:gdLst>
              <a:gd name="connsiteX0" fmla="*/ 0 w 40991"/>
              <a:gd name="connsiteY0" fmla="*/ 20496 h 51275"/>
              <a:gd name="connsiteX1" fmla="*/ 0 w 40991"/>
              <a:gd name="connsiteY1" fmla="*/ 30780 h 51275"/>
              <a:gd name="connsiteX2" fmla="*/ 20496 w 40991"/>
              <a:gd name="connsiteY2" fmla="*/ 51275 h 51275"/>
              <a:gd name="connsiteX3" fmla="*/ 40991 w 40991"/>
              <a:gd name="connsiteY3" fmla="*/ 30780 h 51275"/>
              <a:gd name="connsiteX4" fmla="*/ 40991 w 40991"/>
              <a:gd name="connsiteY4" fmla="*/ 20496 h 51275"/>
              <a:gd name="connsiteX5" fmla="*/ 20496 w 40991"/>
              <a:gd name="connsiteY5" fmla="*/ 0 h 51275"/>
              <a:gd name="connsiteX6" fmla="*/ 0 w 40991"/>
              <a:gd name="connsiteY6" fmla="*/ 20496 h 51275"/>
              <a:gd name="connsiteX7" fmla="*/ 30780 w 40991"/>
              <a:gd name="connsiteY7" fmla="*/ 20496 h 51275"/>
              <a:gd name="connsiteX8" fmla="*/ 30780 w 40991"/>
              <a:gd name="connsiteY8" fmla="*/ 30780 h 51275"/>
              <a:gd name="connsiteX9" fmla="*/ 20496 w 40991"/>
              <a:gd name="connsiteY9" fmla="*/ 41063 h 51275"/>
              <a:gd name="connsiteX10" fmla="*/ 10212 w 40991"/>
              <a:gd name="connsiteY10" fmla="*/ 30780 h 51275"/>
              <a:gd name="connsiteX11" fmla="*/ 10212 w 40991"/>
              <a:gd name="connsiteY11" fmla="*/ 20496 h 51275"/>
              <a:gd name="connsiteX12" fmla="*/ 20496 w 40991"/>
              <a:gd name="connsiteY12" fmla="*/ 10212 h 51275"/>
              <a:gd name="connsiteX13" fmla="*/ 30780 w 40991"/>
              <a:gd name="connsiteY13" fmla="*/ 20496 h 5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991" h="51275">
                <a:moveTo>
                  <a:pt x="0" y="20496"/>
                </a:moveTo>
                <a:lnTo>
                  <a:pt x="0" y="30780"/>
                </a:lnTo>
                <a:cubicBezTo>
                  <a:pt x="0" y="42077"/>
                  <a:pt x="9198" y="51275"/>
                  <a:pt x="20496" y="51275"/>
                </a:cubicBezTo>
                <a:cubicBezTo>
                  <a:pt x="31793" y="51275"/>
                  <a:pt x="40991" y="42077"/>
                  <a:pt x="40991" y="30780"/>
                </a:cubicBezTo>
                <a:lnTo>
                  <a:pt x="40991" y="20496"/>
                </a:lnTo>
                <a:cubicBezTo>
                  <a:pt x="40991" y="9198"/>
                  <a:pt x="31793" y="0"/>
                  <a:pt x="20496" y="0"/>
                </a:cubicBezTo>
                <a:cubicBezTo>
                  <a:pt x="9198" y="0"/>
                  <a:pt x="0" y="9198"/>
                  <a:pt x="0" y="20496"/>
                </a:cubicBezTo>
                <a:close/>
                <a:moveTo>
                  <a:pt x="30780" y="20496"/>
                </a:moveTo>
                <a:lnTo>
                  <a:pt x="30780" y="30780"/>
                </a:lnTo>
                <a:cubicBezTo>
                  <a:pt x="30780" y="36428"/>
                  <a:pt x="26144" y="41063"/>
                  <a:pt x="20496" y="41063"/>
                </a:cubicBezTo>
                <a:cubicBezTo>
                  <a:pt x="14847" y="41063"/>
                  <a:pt x="10212" y="36428"/>
                  <a:pt x="10212" y="30780"/>
                </a:cubicBezTo>
                <a:lnTo>
                  <a:pt x="10212" y="20496"/>
                </a:lnTo>
                <a:cubicBezTo>
                  <a:pt x="10212" y="14847"/>
                  <a:pt x="14847" y="10212"/>
                  <a:pt x="20496" y="10212"/>
                </a:cubicBezTo>
                <a:cubicBezTo>
                  <a:pt x="26144" y="10212"/>
                  <a:pt x="30780" y="14847"/>
                  <a:pt x="30780" y="20496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C16D6C6-DFC5-D12E-7A6D-EF6B00770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76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1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1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1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9" grpId="0" animBg="1"/>
      <p:bldP spid="1145" grpId="0" animBg="1"/>
      <p:bldP spid="1143" grpId="0" animBg="1"/>
      <p:bldP spid="1144" grpId="0" animBg="1"/>
      <p:bldP spid="1146" grpId="0" animBg="1"/>
      <p:bldP spid="1147" grpId="0" animBg="1"/>
      <p:bldP spid="1173" grpId="0" animBg="1"/>
      <p:bldP spid="1171" grpId="0"/>
      <p:bldP spid="1172" grpId="0"/>
      <p:bldP spid="1179" grpId="0" animBg="1"/>
      <p:bldP spid="1180" grpId="0" animBg="1"/>
      <p:bldP spid="1181" grpId="0" animBg="1"/>
      <p:bldP spid="1182" grpId="0" animBg="1"/>
      <p:bldP spid="1183" grpId="0"/>
      <p:bldP spid="1184" grpId="0" animBg="1"/>
      <p:bldP spid="1185" grpId="0" animBg="1"/>
      <p:bldP spid="1186" grpId="0" animBg="1"/>
      <p:bldP spid="1187" grpId="0" animBg="1"/>
      <p:bldP spid="1194" grpId="0"/>
      <p:bldP spid="1195" grpId="0"/>
      <p:bldP spid="1199" grpId="0" animBg="1"/>
      <p:bldP spid="1206" grpId="0"/>
      <p:bldP spid="1207" grpId="0"/>
      <p:bldP spid="1223" grpId="0"/>
      <p:bldP spid="1224" grpId="0"/>
      <p:bldP spid="1225" grpId="0" animBg="1"/>
      <p:bldP spid="1226" grpId="0" animBg="1"/>
      <p:bldP spid="31" grpId="0" animBg="1"/>
      <p:bldP spid="1120" grpId="0" animBg="1"/>
      <p:bldP spid="1121" grpId="0" animBg="1"/>
      <p:bldP spid="1122" grpId="0" animBg="1"/>
      <p:bldP spid="1123" grpId="0" animBg="1"/>
      <p:bldP spid="1124" grpId="0" animBg="1"/>
      <p:bldP spid="1125" grpId="0" animBg="1"/>
      <p:bldP spid="1126" grpId="0" animBg="1"/>
      <p:bldP spid="1127" grpId="0" animBg="1"/>
      <p:bldP spid="24" grpId="0"/>
      <p:bldP spid="50" grpId="0" animBg="1"/>
      <p:bldP spid="52" grpId="0" animBg="1"/>
      <p:bldP spid="1188" grpId="0"/>
      <p:bldP spid="118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599C1435-6770-1BD7-F0B4-9A77E6E5351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1130">
              <a:alpha val="60000"/>
            </a:srgb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7A5BE6E-0039-AC5B-CD21-E0024E41F1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79508" y="1612101"/>
            <a:ext cx="720000" cy="720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C340E183-AEBB-DBD8-13EB-1C20912FC7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52020" y="1612101"/>
            <a:ext cx="720000" cy="72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C27C8DB-71F1-79A5-5985-3467093F05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72518" y="1612101"/>
            <a:ext cx="720000" cy="720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88917F7-A007-41FE-C671-5F40CCFF99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52696" y="1612101"/>
            <a:ext cx="720000" cy="720000"/>
          </a:xfrm>
          <a:prstGeom prst="rect">
            <a:avLst/>
          </a:prstGeom>
        </p:spPr>
      </p:pic>
      <p:sp>
        <p:nvSpPr>
          <p:cNvPr id="8" name="Rechteck 57">
            <a:extLst>
              <a:ext uri="{FF2B5EF4-FFF2-40B4-BE49-F238E27FC236}">
                <a16:creationId xmlns:a16="http://schemas.microsoft.com/office/drawing/2014/main" id="{1E1B99A7-3C14-A68B-E048-07865EEC4608}"/>
              </a:ext>
            </a:extLst>
          </p:cNvPr>
          <p:cNvSpPr/>
          <p:nvPr/>
        </p:nvSpPr>
        <p:spPr>
          <a:xfrm>
            <a:off x="640196" y="5580919"/>
            <a:ext cx="10927915" cy="776859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Onc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et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u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,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further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us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case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can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b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implemented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and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scaled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quickly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 and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+mn-cs"/>
              </a:rPr>
              <a:t>easily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usin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domain-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pecific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aspect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anose="020B0604020202020204" charset="0"/>
              <a:ea typeface="+mn-ea"/>
              <a:cs typeface="+mn-cs"/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773C54A-637B-6211-8721-E7A9BF30A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9" imgH="360" progId="TCLayout.ActiveDocument.1">
                  <p:embed/>
                </p:oleObj>
              </mc:Choice>
              <mc:Fallback>
                <p:oleObj name="think-cell Folie" r:id="rId12" imgW="359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73C54A-637B-6211-8721-E7A9BF30A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54D5302F-008F-7F51-B97F-6B40E105C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3" y="576000"/>
            <a:ext cx="10936210" cy="549277"/>
          </a:xfrm>
        </p:spPr>
        <p:txBody>
          <a:bodyPr vert="horz"/>
          <a:lstStyle/>
          <a:p>
            <a:endParaRPr lang="de-DE" sz="2800" dirty="0"/>
          </a:p>
        </p:txBody>
      </p:sp>
      <p:sp>
        <p:nvSpPr>
          <p:cNvPr id="19" name="Rechteck 7">
            <a:extLst>
              <a:ext uri="{FF2B5EF4-FFF2-40B4-BE49-F238E27FC236}">
                <a16:creationId xmlns:a16="http://schemas.microsoft.com/office/drawing/2014/main" id="{7B2F2D22-F450-514B-1CCC-020D1D3C7D3E}"/>
              </a:ext>
            </a:extLst>
          </p:cNvPr>
          <p:cNvSpPr/>
          <p:nvPr/>
        </p:nvSpPr>
        <p:spPr>
          <a:xfrm>
            <a:off x="1953757" y="4676436"/>
            <a:ext cx="5392973" cy="582172"/>
          </a:xfrm>
          <a:prstGeom prst="rect">
            <a:avLst/>
          </a:prstGeom>
          <a:solidFill>
            <a:srgbClr val="3483B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 BPN, Dataspace Connector (e.g. Tractus-X EDC), Digital Twin Registry,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Asset Administration Shell (AAS), Discovery Services, Digital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Idendit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anose="020B0604020202020204" charset="0"/>
              <a:ea typeface="+mn-ea"/>
              <a:cs typeface="+mn-cs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90125356-CCB9-47E4-6736-9C19287893AE}"/>
              </a:ext>
            </a:extLst>
          </p:cNvPr>
          <p:cNvSpPr/>
          <p:nvPr/>
        </p:nvSpPr>
        <p:spPr>
          <a:xfrm>
            <a:off x="9412852" y="2803541"/>
            <a:ext cx="1991880" cy="53315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Instance Level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Vehicle, Serialized Parts, Batches, JIS, ECUs</a:t>
            </a:r>
          </a:p>
        </p:txBody>
      </p:sp>
      <p:sp>
        <p:nvSpPr>
          <p:cNvPr id="48" name="Pfeil: nach oben und unten 47">
            <a:extLst>
              <a:ext uri="{FF2B5EF4-FFF2-40B4-BE49-F238E27FC236}">
                <a16:creationId xmlns:a16="http://schemas.microsoft.com/office/drawing/2014/main" id="{E6C4C8B8-1FD9-1C13-5595-955A19189E0F}"/>
              </a:ext>
            </a:extLst>
          </p:cNvPr>
          <p:cNvSpPr/>
          <p:nvPr/>
        </p:nvSpPr>
        <p:spPr>
          <a:xfrm>
            <a:off x="8950898" y="1961843"/>
            <a:ext cx="234285" cy="3091168"/>
          </a:xfrm>
          <a:prstGeom prst="upDownArrow">
            <a:avLst>
              <a:gd name="adj1" fmla="val 46925"/>
              <a:gd name="adj2" fmla="val 64475"/>
            </a:avLst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anose="020B060402020202020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673CBD2C-EF24-BD67-D32C-2A54AD885C72}"/>
              </a:ext>
            </a:extLst>
          </p:cNvPr>
          <p:cNvCxnSpPr>
            <a:cxnSpLocks/>
            <a:endCxn id="24" idx="0"/>
          </p:cNvCxnSpPr>
          <p:nvPr/>
        </p:nvCxnSpPr>
        <p:spPr>
          <a:xfrm flipV="1">
            <a:off x="7292340" y="1412550"/>
            <a:ext cx="1612838" cy="2009123"/>
          </a:xfrm>
          <a:prstGeom prst="line">
            <a:avLst/>
          </a:prstGeom>
          <a:noFill/>
          <a:ln w="19050">
            <a:solidFill>
              <a:schemeClr val="accent2"/>
            </a:solidFill>
          </a:ln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540A9EF-5D3E-6F61-611F-F8D6DE547297}"/>
              </a:ext>
            </a:extLst>
          </p:cNvPr>
          <p:cNvCxnSpPr>
            <a:cxnSpLocks/>
            <a:endCxn id="24" idx="3"/>
          </p:cNvCxnSpPr>
          <p:nvPr/>
        </p:nvCxnSpPr>
        <p:spPr>
          <a:xfrm>
            <a:off x="7333508" y="4308911"/>
            <a:ext cx="1614279" cy="887851"/>
          </a:xfrm>
          <a:prstGeom prst="line">
            <a:avLst/>
          </a:prstGeom>
          <a:noFill/>
          <a:ln w="19050">
            <a:solidFill>
              <a:schemeClr val="accent2"/>
            </a:solidFill>
          </a:ln>
        </p:spPr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3216781-2BAF-C8EF-34E8-7E472C945DC0}"/>
              </a:ext>
            </a:extLst>
          </p:cNvPr>
          <p:cNvCxnSpPr>
            <a:cxnSpLocks/>
            <a:stCxn id="42" idx="2"/>
            <a:endCxn id="22" idx="0"/>
          </p:cNvCxnSpPr>
          <p:nvPr/>
        </p:nvCxnSpPr>
        <p:spPr>
          <a:xfrm>
            <a:off x="3912696" y="2774664"/>
            <a:ext cx="739670" cy="603973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20069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16D0D09-8954-3BCB-A98D-6D7FD213A8EC}"/>
              </a:ext>
            </a:extLst>
          </p:cNvPr>
          <p:cNvCxnSpPr>
            <a:cxnSpLocks/>
            <a:stCxn id="46" idx="2"/>
            <a:endCxn id="22" idx="0"/>
          </p:cNvCxnSpPr>
          <p:nvPr/>
        </p:nvCxnSpPr>
        <p:spPr>
          <a:xfrm flipH="1">
            <a:off x="4652366" y="2776555"/>
            <a:ext cx="659654" cy="602082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20069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904B4FC3-AAEF-4274-611D-335922D4E5BC}"/>
              </a:ext>
            </a:extLst>
          </p:cNvPr>
          <p:cNvCxnSpPr>
            <a:cxnSpLocks/>
            <a:stCxn id="41" idx="2"/>
            <a:endCxn id="22" idx="0"/>
          </p:cNvCxnSpPr>
          <p:nvPr/>
        </p:nvCxnSpPr>
        <p:spPr>
          <a:xfrm>
            <a:off x="2532518" y="2753379"/>
            <a:ext cx="2119848" cy="625258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20069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B1674858-F753-1547-48D2-F7E82E11EDA2}"/>
              </a:ext>
            </a:extLst>
          </p:cNvPr>
          <p:cNvCxnSpPr>
            <a:cxnSpLocks/>
            <a:stCxn id="47" idx="2"/>
            <a:endCxn id="22" idx="0"/>
          </p:cNvCxnSpPr>
          <p:nvPr/>
        </p:nvCxnSpPr>
        <p:spPr>
          <a:xfrm flipH="1">
            <a:off x="4652366" y="2778586"/>
            <a:ext cx="2087142" cy="600051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20069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FEA55E10-67AC-7205-B410-0A08364EBD70}"/>
              </a:ext>
            </a:extLst>
          </p:cNvPr>
          <p:cNvSpPr txBox="1"/>
          <p:nvPr/>
        </p:nvSpPr>
        <p:spPr>
          <a:xfrm>
            <a:off x="9412852" y="1551993"/>
            <a:ext cx="1991881" cy="32157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Arial" panose="020B0604020202020204" pitchFamily="34" charset="0"/>
              </a:rPr>
              <a:t>Levels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Arial" panose="020B0604020202020204" pitchFamily="34" charset="0"/>
              </a:rPr>
              <a:t> Digital Twins</a:t>
            </a: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2E6D6474-CAC9-4DB5-FF6C-C684A0AB49C0}"/>
              </a:ext>
            </a:extLst>
          </p:cNvPr>
          <p:cNvSpPr/>
          <p:nvPr/>
        </p:nvSpPr>
        <p:spPr>
          <a:xfrm>
            <a:off x="8905178" y="1412550"/>
            <a:ext cx="2666128" cy="3784212"/>
          </a:xfrm>
          <a:custGeom>
            <a:avLst/>
            <a:gdLst>
              <a:gd name="connsiteX0" fmla="*/ 0 w 3337560"/>
              <a:gd name="connsiteY0" fmla="*/ 0 h 4030980"/>
              <a:gd name="connsiteX1" fmla="*/ 3337560 w 3337560"/>
              <a:gd name="connsiteY1" fmla="*/ 0 h 4030980"/>
              <a:gd name="connsiteX2" fmla="*/ 3337560 w 3337560"/>
              <a:gd name="connsiteY2" fmla="*/ 4030980 h 4030980"/>
              <a:gd name="connsiteX3" fmla="*/ 53340 w 3337560"/>
              <a:gd name="connsiteY3" fmla="*/ 4030980 h 4030980"/>
              <a:gd name="connsiteX4" fmla="*/ 83820 w 3337560"/>
              <a:gd name="connsiteY4" fmla="*/ 4023360 h 403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7560" h="4030980">
                <a:moveTo>
                  <a:pt x="0" y="0"/>
                </a:moveTo>
                <a:lnTo>
                  <a:pt x="3337560" y="0"/>
                </a:lnTo>
                <a:lnTo>
                  <a:pt x="3337560" y="4030980"/>
                </a:lnTo>
                <a:lnTo>
                  <a:pt x="53340" y="4030980"/>
                </a:lnTo>
                <a:lnTo>
                  <a:pt x="83820" y="4023360"/>
                </a:lnTo>
              </a:path>
            </a:pathLst>
          </a:custGeom>
          <a:noFill/>
          <a:ln w="19050">
            <a:solidFill>
              <a:schemeClr val="accent2"/>
            </a:solidFill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anose="020B0604020202020204" charset="0"/>
              <a:ea typeface="+mn-ea"/>
              <a:cs typeface="+mn-cs"/>
            </a:endParaRP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F9000CAC-7D0D-D28C-2070-7683FBC6C734}"/>
              </a:ext>
            </a:extLst>
          </p:cNvPr>
          <p:cNvSpPr/>
          <p:nvPr/>
        </p:nvSpPr>
        <p:spPr>
          <a:xfrm>
            <a:off x="9412852" y="4483457"/>
            <a:ext cx="1991880" cy="53315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Type Level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Part number, material number, catalog parts</a:t>
            </a:r>
          </a:p>
        </p:txBody>
      </p:sp>
      <p:sp>
        <p:nvSpPr>
          <p:cNvPr id="22" name="Rechteck: abgerundete Ecken 248">
            <a:extLst>
              <a:ext uri="{FF2B5EF4-FFF2-40B4-BE49-F238E27FC236}">
                <a16:creationId xmlns:a16="http://schemas.microsoft.com/office/drawing/2014/main" id="{48959548-7A9A-0E15-19AA-093961EB5D44}"/>
              </a:ext>
            </a:extLst>
          </p:cNvPr>
          <p:cNvSpPr/>
          <p:nvPr/>
        </p:nvSpPr>
        <p:spPr>
          <a:xfrm>
            <a:off x="1958002" y="3378637"/>
            <a:ext cx="5388728" cy="930274"/>
          </a:xfrm>
          <a:prstGeom prst="roundRect">
            <a:avLst>
              <a:gd name="adj" fmla="val 7727"/>
            </a:avLst>
          </a:prstGeom>
          <a:solidFill>
            <a:schemeClr val="bg1"/>
          </a:solidFill>
          <a:ln w="28575" cap="flat" cmpd="sng" algn="ctr">
            <a:solidFill>
              <a:srgbClr val="B4CC2D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anose="020B0604020202020204" charset="0"/>
              <a:ea typeface="+mn-ea"/>
              <a:cs typeface="+mn-cs"/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F32BE4EB-5A21-6BAA-427C-E09503B0B55F}"/>
              </a:ext>
            </a:extLst>
          </p:cNvPr>
          <p:cNvGrpSpPr/>
          <p:nvPr/>
        </p:nvGrpSpPr>
        <p:grpSpPr>
          <a:xfrm>
            <a:off x="3897884" y="3264847"/>
            <a:ext cx="1512000" cy="198368"/>
            <a:chOff x="1344000" y="2349893"/>
            <a:chExt cx="1512000" cy="216000"/>
          </a:xfrm>
        </p:grpSpPr>
        <p:sp>
          <p:nvSpPr>
            <p:cNvPr id="32" name="Textfeld 249">
              <a:extLst>
                <a:ext uri="{FF2B5EF4-FFF2-40B4-BE49-F238E27FC236}">
                  <a16:creationId xmlns:a16="http://schemas.microsoft.com/office/drawing/2014/main" id="{3EE2DFBF-62B6-0025-B922-E268EEB783B7}"/>
                </a:ext>
              </a:extLst>
            </p:cNvPr>
            <p:cNvSpPr txBox="1"/>
            <p:nvPr/>
          </p:nvSpPr>
          <p:spPr>
            <a:xfrm>
              <a:off x="1344000" y="2349893"/>
              <a:ext cx="1512000" cy="216000"/>
            </a:xfrm>
            <a:prstGeom prst="roundRect">
              <a:avLst>
                <a:gd name="adj" fmla="val 50000"/>
              </a:avLst>
            </a:prstGeom>
            <a:solidFill>
              <a:srgbClr val="B4CC2D"/>
            </a:solidFill>
            <a:ln>
              <a:noFill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400" cap="none" spc="8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" panose="020B0604020202020204" charset="0"/>
                  <a:ea typeface="+mn-ea"/>
                  <a:cs typeface="+mn-cs"/>
                </a:rPr>
                <a:t>   DIGITAL TWINS</a:t>
              </a: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44D52E6C-2B31-33D0-8B03-A0D7BA89DC9F}"/>
                </a:ext>
              </a:extLst>
            </p:cNvPr>
            <p:cNvSpPr/>
            <p:nvPr/>
          </p:nvSpPr>
          <p:spPr>
            <a:xfrm>
              <a:off x="2640808" y="2382205"/>
              <a:ext cx="173830" cy="173827"/>
            </a:xfrm>
            <a:prstGeom prst="ellipse">
              <a:avLst/>
            </a:prstGeom>
            <a:solidFill>
              <a:sysClr val="window" lastClr="FFFFFF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4" name="Grafik 9">
              <a:extLst>
                <a:ext uri="{FF2B5EF4-FFF2-40B4-BE49-F238E27FC236}">
                  <a16:creationId xmlns:a16="http://schemas.microsoft.com/office/drawing/2014/main" id="{CD6813A8-31B1-CD16-2095-7C106A7C50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647"/>
            <a:stretch/>
          </p:blipFill>
          <p:spPr>
            <a:xfrm>
              <a:off x="2682048" y="2407812"/>
              <a:ext cx="127139" cy="112847"/>
            </a:xfrm>
            <a:prstGeom prst="rect">
              <a:avLst/>
            </a:prstGeom>
          </p:spPr>
        </p:pic>
      </p:grpSp>
      <p:sp>
        <p:nvSpPr>
          <p:cNvPr id="45" name="Rechteck 7">
            <a:extLst>
              <a:ext uri="{FF2B5EF4-FFF2-40B4-BE49-F238E27FC236}">
                <a16:creationId xmlns:a16="http://schemas.microsoft.com/office/drawing/2014/main" id="{11F821EB-F903-9A7B-76C0-41DC3B5D4133}"/>
              </a:ext>
            </a:extLst>
          </p:cNvPr>
          <p:cNvSpPr/>
          <p:nvPr/>
        </p:nvSpPr>
        <p:spPr>
          <a:xfrm>
            <a:off x="640196" y="2379238"/>
            <a:ext cx="1078666" cy="16927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Use-Cases</a:t>
            </a:r>
          </a:p>
        </p:txBody>
      </p:sp>
      <p:grpSp>
        <p:nvGrpSpPr>
          <p:cNvPr id="2061" name="Gruppieren 2060">
            <a:extLst>
              <a:ext uri="{FF2B5EF4-FFF2-40B4-BE49-F238E27FC236}">
                <a16:creationId xmlns:a16="http://schemas.microsoft.com/office/drawing/2014/main" id="{2DB18420-F8F2-04B8-815A-EE6F37AF9BCE}"/>
              </a:ext>
            </a:extLst>
          </p:cNvPr>
          <p:cNvGrpSpPr/>
          <p:nvPr/>
        </p:nvGrpSpPr>
        <p:grpSpPr>
          <a:xfrm>
            <a:off x="3992097" y="3680923"/>
            <a:ext cx="3158429" cy="404723"/>
            <a:chOff x="4022577" y="3680923"/>
            <a:chExt cx="3158429" cy="404723"/>
          </a:xfrm>
        </p:grpSpPr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56550E24-1EE7-8FEB-024D-08ED5062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723" y="3701700"/>
              <a:ext cx="360000" cy="360000"/>
            </a:xfrm>
            <a:prstGeom prst="rect">
              <a:avLst/>
            </a:prstGeom>
          </p:spPr>
        </p:pic>
        <p:pic>
          <p:nvPicPr>
            <p:cNvPr id="2048" name="Grafik 2047">
              <a:extLst>
                <a:ext uri="{FF2B5EF4-FFF2-40B4-BE49-F238E27FC236}">
                  <a16:creationId xmlns:a16="http://schemas.microsoft.com/office/drawing/2014/main" id="{1132BD39-06AF-1334-77C2-0E73D4D37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2558" y="3680923"/>
              <a:ext cx="360000" cy="360000"/>
            </a:xfrm>
            <a:prstGeom prst="rect">
              <a:avLst/>
            </a:prstGeom>
          </p:spPr>
        </p:pic>
        <p:pic>
          <p:nvPicPr>
            <p:cNvPr id="2049" name="Grafik 2048">
              <a:extLst>
                <a:ext uri="{FF2B5EF4-FFF2-40B4-BE49-F238E27FC236}">
                  <a16:creationId xmlns:a16="http://schemas.microsoft.com/office/drawing/2014/main" id="{5D33CC42-D345-5711-E5F0-17BD65DD1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1006" y="3701384"/>
              <a:ext cx="360000" cy="360000"/>
            </a:xfrm>
            <a:prstGeom prst="rect">
              <a:avLst/>
            </a:prstGeom>
          </p:spPr>
        </p:pic>
        <p:pic>
          <p:nvPicPr>
            <p:cNvPr id="2050" name="Grafik 2049">
              <a:extLst>
                <a:ext uri="{FF2B5EF4-FFF2-40B4-BE49-F238E27FC236}">
                  <a16:creationId xmlns:a16="http://schemas.microsoft.com/office/drawing/2014/main" id="{C68D690D-34CB-9A16-8F4B-43B4CAE65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7059" y="3701700"/>
              <a:ext cx="360000" cy="360000"/>
            </a:xfrm>
            <a:prstGeom prst="rect">
              <a:avLst/>
            </a:prstGeom>
          </p:spPr>
        </p:pic>
        <p:pic>
          <p:nvPicPr>
            <p:cNvPr id="2051" name="Grafik 2050">
              <a:extLst>
                <a:ext uri="{FF2B5EF4-FFF2-40B4-BE49-F238E27FC236}">
                  <a16:creationId xmlns:a16="http://schemas.microsoft.com/office/drawing/2014/main" id="{760A05D1-ECDF-C154-5C5A-D778B8A26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577" y="3725646"/>
              <a:ext cx="360000" cy="360000"/>
            </a:xfrm>
            <a:prstGeom prst="rect">
              <a:avLst/>
            </a:prstGeom>
          </p:spPr>
        </p:pic>
        <p:pic>
          <p:nvPicPr>
            <p:cNvPr id="2052" name="Grafik 2051">
              <a:extLst>
                <a:ext uri="{FF2B5EF4-FFF2-40B4-BE49-F238E27FC236}">
                  <a16:creationId xmlns:a16="http://schemas.microsoft.com/office/drawing/2014/main" id="{D007406F-C35E-ABCA-C35A-D95F82989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1010" y="3715686"/>
              <a:ext cx="360000" cy="360000"/>
            </a:xfrm>
            <a:prstGeom prst="rect">
              <a:avLst/>
            </a:prstGeom>
          </p:spPr>
        </p:pic>
      </p:grpSp>
      <p:sp>
        <p:nvSpPr>
          <p:cNvPr id="2059" name="Rechteck: abgerundete Ecken 244">
            <a:extLst>
              <a:ext uri="{FF2B5EF4-FFF2-40B4-BE49-F238E27FC236}">
                <a16:creationId xmlns:a16="http://schemas.microsoft.com/office/drawing/2014/main" id="{665B29F3-4DD2-7FD8-98B9-A2994217BAC8}"/>
              </a:ext>
            </a:extLst>
          </p:cNvPr>
          <p:cNvSpPr/>
          <p:nvPr/>
        </p:nvSpPr>
        <p:spPr>
          <a:xfrm>
            <a:off x="2040333" y="3583731"/>
            <a:ext cx="2059234" cy="596009"/>
          </a:xfrm>
          <a:prstGeom prst="rect">
            <a:avLst/>
          </a:prstGeom>
          <a:noFill/>
          <a:ln w="19050" cap="flat" cmpd="sng" algn="ctr">
            <a:noFill/>
            <a:prstDash val="dash"/>
            <a:miter lim="800000"/>
            <a:extLst>
              <a:ext uri="{C807C97D-BFC1-408E-A445-0C87EB9F89A2}">
                <ask:lineSketchStyleProps xmlns:ask="http://schemas.microsoft.com/office/drawing/2018/sketchyshapes" sd="3156684292">
                  <a:custGeom>
                    <a:avLst/>
                    <a:gdLst>
                      <a:gd name="connsiteX0" fmla="*/ 0 w 1548000"/>
                      <a:gd name="connsiteY0" fmla="*/ 133883 h 504000"/>
                      <a:gd name="connsiteX1" fmla="*/ 133883 w 1548000"/>
                      <a:gd name="connsiteY1" fmla="*/ 0 h 504000"/>
                      <a:gd name="connsiteX2" fmla="*/ 1414117 w 1548000"/>
                      <a:gd name="connsiteY2" fmla="*/ 0 h 504000"/>
                      <a:gd name="connsiteX3" fmla="*/ 1548000 w 1548000"/>
                      <a:gd name="connsiteY3" fmla="*/ 133883 h 504000"/>
                      <a:gd name="connsiteX4" fmla="*/ 1548000 w 1548000"/>
                      <a:gd name="connsiteY4" fmla="*/ 370117 h 504000"/>
                      <a:gd name="connsiteX5" fmla="*/ 1414117 w 1548000"/>
                      <a:gd name="connsiteY5" fmla="*/ 504000 h 504000"/>
                      <a:gd name="connsiteX6" fmla="*/ 133883 w 1548000"/>
                      <a:gd name="connsiteY6" fmla="*/ 504000 h 504000"/>
                      <a:gd name="connsiteX7" fmla="*/ 0 w 1548000"/>
                      <a:gd name="connsiteY7" fmla="*/ 370117 h 504000"/>
                      <a:gd name="connsiteX8" fmla="*/ 0 w 1548000"/>
                      <a:gd name="connsiteY8" fmla="*/ 133883 h 50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48000" h="504000" extrusionOk="0">
                        <a:moveTo>
                          <a:pt x="0" y="133883"/>
                        </a:moveTo>
                        <a:cubicBezTo>
                          <a:pt x="-4431" y="53384"/>
                          <a:pt x="60983" y="-2260"/>
                          <a:pt x="133883" y="0"/>
                        </a:cubicBezTo>
                        <a:cubicBezTo>
                          <a:pt x="531894" y="56640"/>
                          <a:pt x="818747" y="-85347"/>
                          <a:pt x="1414117" y="0"/>
                        </a:cubicBezTo>
                        <a:cubicBezTo>
                          <a:pt x="1491420" y="12626"/>
                          <a:pt x="1544536" y="51950"/>
                          <a:pt x="1548000" y="133883"/>
                        </a:cubicBezTo>
                        <a:cubicBezTo>
                          <a:pt x="1554121" y="214775"/>
                          <a:pt x="1556187" y="285940"/>
                          <a:pt x="1548000" y="370117"/>
                        </a:cubicBezTo>
                        <a:cubicBezTo>
                          <a:pt x="1540671" y="436783"/>
                          <a:pt x="1499173" y="512360"/>
                          <a:pt x="1414117" y="504000"/>
                        </a:cubicBezTo>
                        <a:cubicBezTo>
                          <a:pt x="1040108" y="569803"/>
                          <a:pt x="563073" y="509364"/>
                          <a:pt x="133883" y="504000"/>
                        </a:cubicBezTo>
                        <a:cubicBezTo>
                          <a:pt x="62237" y="507570"/>
                          <a:pt x="-1686" y="435477"/>
                          <a:pt x="0" y="370117"/>
                        </a:cubicBezTo>
                        <a:cubicBezTo>
                          <a:pt x="18287" y="262851"/>
                          <a:pt x="8309" y="233983"/>
                          <a:pt x="0" y="133883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ART NUMBER   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PN5A52. .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SERIAL NUMBER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SAB1235. .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BATCH NUMBER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BAT123. .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JIS NUMBER             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JIS123. .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. . .                                   ..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 Light" panose="020B0604020202020204" charset="0"/>
                <a:ea typeface="+mn-ea"/>
                <a:cs typeface="+mn-cs"/>
              </a:rPr>
              <a:t>.</a:t>
            </a:r>
          </a:p>
        </p:txBody>
      </p:sp>
      <p:sp>
        <p:nvSpPr>
          <p:cNvPr id="2060" name="Rechteck: abgerundete Ecken 2059">
            <a:extLst>
              <a:ext uri="{FF2B5EF4-FFF2-40B4-BE49-F238E27FC236}">
                <a16:creationId xmlns:a16="http://schemas.microsoft.com/office/drawing/2014/main" id="{01201C75-2D91-81F2-7EC5-05063C6A939B}"/>
              </a:ext>
            </a:extLst>
          </p:cNvPr>
          <p:cNvSpPr/>
          <p:nvPr/>
        </p:nvSpPr>
        <p:spPr>
          <a:xfrm>
            <a:off x="3863024" y="3603717"/>
            <a:ext cx="3356356" cy="564691"/>
          </a:xfrm>
          <a:prstGeom prst="roundRect">
            <a:avLst/>
          </a:prstGeom>
          <a:solidFill>
            <a:schemeClr val="bg2">
              <a:alpha val="7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Rechteck 7">
            <a:extLst>
              <a:ext uri="{FF2B5EF4-FFF2-40B4-BE49-F238E27FC236}">
                <a16:creationId xmlns:a16="http://schemas.microsoft.com/office/drawing/2014/main" id="{926E4ECA-70EA-5566-DC1D-409565D1CE33}"/>
              </a:ext>
            </a:extLst>
          </p:cNvPr>
          <p:cNvSpPr/>
          <p:nvPr/>
        </p:nvSpPr>
        <p:spPr>
          <a:xfrm>
            <a:off x="1938518" y="2330122"/>
            <a:ext cx="1188000" cy="42325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PCF- Domain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pecific semantics</a:t>
            </a:r>
          </a:p>
        </p:txBody>
      </p:sp>
      <p:sp>
        <p:nvSpPr>
          <p:cNvPr id="42" name="Rechteck 7">
            <a:extLst>
              <a:ext uri="{FF2B5EF4-FFF2-40B4-BE49-F238E27FC236}">
                <a16:creationId xmlns:a16="http://schemas.microsoft.com/office/drawing/2014/main" id="{AC0E4926-4CB7-0090-3AD1-6424FE9FAF28}"/>
              </a:ext>
            </a:extLst>
          </p:cNvPr>
          <p:cNvSpPr/>
          <p:nvPr/>
        </p:nvSpPr>
        <p:spPr>
          <a:xfrm>
            <a:off x="3318696" y="2351407"/>
            <a:ext cx="1188000" cy="42325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ESS- Domain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pecific semantics</a:t>
            </a:r>
          </a:p>
        </p:txBody>
      </p:sp>
      <p:sp>
        <p:nvSpPr>
          <p:cNvPr id="46" name="Rechteck 7">
            <a:extLst>
              <a:ext uri="{FF2B5EF4-FFF2-40B4-BE49-F238E27FC236}">
                <a16:creationId xmlns:a16="http://schemas.microsoft.com/office/drawing/2014/main" id="{1CC03A9D-97CE-1637-1339-C2CD8067D152}"/>
              </a:ext>
            </a:extLst>
          </p:cNvPr>
          <p:cNvSpPr/>
          <p:nvPr/>
        </p:nvSpPr>
        <p:spPr>
          <a:xfrm>
            <a:off x="4721919" y="2353298"/>
            <a:ext cx="1180202" cy="42325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Trace- Domain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pecific semantics</a:t>
            </a:r>
          </a:p>
        </p:txBody>
      </p:sp>
      <p:sp>
        <p:nvSpPr>
          <p:cNvPr id="47" name="Rechteck 7">
            <a:extLst>
              <a:ext uri="{FF2B5EF4-FFF2-40B4-BE49-F238E27FC236}">
                <a16:creationId xmlns:a16="http://schemas.microsoft.com/office/drawing/2014/main" id="{8EAF4B31-4DE2-BF53-D507-44055C183403}"/>
              </a:ext>
            </a:extLst>
          </p:cNvPr>
          <p:cNvSpPr/>
          <p:nvPr/>
        </p:nvSpPr>
        <p:spPr>
          <a:xfrm>
            <a:off x="6145508" y="2355329"/>
            <a:ext cx="1188000" cy="42325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CE- Domain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specific semantic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2E00624-15EF-4EEC-3951-900C6DEA292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976792" y="3582909"/>
            <a:ext cx="864000" cy="86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A121090-2572-A7D7-F4A0-309AFDED04D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976792" y="1924211"/>
            <a:ext cx="864000" cy="86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325E1E0E-7804-6963-02C6-B8BF25EE5AF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52849" y="3193672"/>
            <a:ext cx="1234954" cy="1234954"/>
          </a:xfrm>
          <a:prstGeom prst="rect">
            <a:avLst/>
          </a:prstGeom>
        </p:spPr>
      </p:pic>
      <p:sp>
        <p:nvSpPr>
          <p:cNvPr id="44" name="Rechteck 7">
            <a:extLst>
              <a:ext uri="{FF2B5EF4-FFF2-40B4-BE49-F238E27FC236}">
                <a16:creationId xmlns:a16="http://schemas.microsoft.com/office/drawing/2014/main" id="{CEA05A18-6B41-9625-91FB-49D2E323BDF3}"/>
              </a:ext>
            </a:extLst>
          </p:cNvPr>
          <p:cNvSpPr/>
          <p:nvPr/>
        </p:nvSpPr>
        <p:spPr>
          <a:xfrm>
            <a:off x="643839" y="3579765"/>
            <a:ext cx="1050470" cy="447609"/>
          </a:xfrm>
          <a:prstGeom prst="rect">
            <a:avLst/>
          </a:prstGeom>
          <a:solidFill>
            <a:srgbClr val="002149">
              <a:alpha val="67000"/>
            </a:srgbClr>
          </a:solidFill>
          <a:ln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400" cap="none" spc="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Industr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400" cap="none" spc="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rPr>
              <a:t>Core </a:t>
            </a:r>
          </a:p>
        </p:txBody>
      </p:sp>
      <p:grpSp>
        <p:nvGrpSpPr>
          <p:cNvPr id="2064" name="Gruppieren 2063">
            <a:extLst>
              <a:ext uri="{FF2B5EF4-FFF2-40B4-BE49-F238E27FC236}">
                <a16:creationId xmlns:a16="http://schemas.microsoft.com/office/drawing/2014/main" id="{F050545D-A251-673C-26FE-D667012F28B8}"/>
              </a:ext>
            </a:extLst>
          </p:cNvPr>
          <p:cNvGrpSpPr/>
          <p:nvPr/>
        </p:nvGrpSpPr>
        <p:grpSpPr>
          <a:xfrm>
            <a:off x="395728" y="4366468"/>
            <a:ext cx="1562274" cy="1431135"/>
            <a:chOff x="395728" y="4366468"/>
            <a:chExt cx="1562274" cy="1431135"/>
          </a:xfrm>
        </p:grpSpPr>
        <p:sp>
          <p:nvSpPr>
            <p:cNvPr id="38" name="Sechseck 37">
              <a:extLst>
                <a:ext uri="{FF2B5EF4-FFF2-40B4-BE49-F238E27FC236}">
                  <a16:creationId xmlns:a16="http://schemas.microsoft.com/office/drawing/2014/main" id="{7CB17B36-FEB1-B916-C92D-83A5657D913A}"/>
                </a:ext>
              </a:extLst>
            </p:cNvPr>
            <p:cNvSpPr/>
            <p:nvPr/>
          </p:nvSpPr>
          <p:spPr>
            <a:xfrm rot="16200000">
              <a:off x="556824" y="4444612"/>
              <a:ext cx="1234954" cy="1078666"/>
            </a:xfrm>
            <a:prstGeom prst="hexagon">
              <a:avLst>
                <a:gd name="adj" fmla="val 28156"/>
                <a:gd name="vf" fmla="val 115470"/>
              </a:avLst>
            </a:prstGeom>
            <a:solidFill>
              <a:srgbClr val="0053BB">
                <a:alpha val="60348"/>
              </a:srgbClr>
            </a:solidFill>
            <a:ln>
              <a:noFill/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Sechseck 36">
              <a:extLst>
                <a:ext uri="{FF2B5EF4-FFF2-40B4-BE49-F238E27FC236}">
                  <a16:creationId xmlns:a16="http://schemas.microsoft.com/office/drawing/2014/main" id="{2A8F807A-CA38-ACB8-7F22-C1AF777268B2}"/>
                </a:ext>
              </a:extLst>
            </p:cNvPr>
            <p:cNvSpPr/>
            <p:nvPr/>
          </p:nvSpPr>
          <p:spPr>
            <a:xfrm rot="16200000">
              <a:off x="639721" y="4517018"/>
              <a:ext cx="1069161" cy="933855"/>
            </a:xfrm>
            <a:prstGeom prst="hexagon">
              <a:avLst>
                <a:gd name="adj" fmla="val 28156"/>
                <a:gd name="vf" fmla="val 115470"/>
              </a:avLst>
            </a:prstGeom>
            <a:solidFill>
              <a:srgbClr val="3483BE"/>
            </a:solidFill>
            <a:ln>
              <a:gradFill>
                <a:gsLst>
                  <a:gs pos="0">
                    <a:srgbClr val="3483BE"/>
                  </a:gs>
                  <a:gs pos="100000">
                    <a:schemeClr val="bg1">
                      <a:alpha val="80477"/>
                    </a:schemeClr>
                  </a:gs>
                </a:gsLst>
                <a:lin ang="10800000" scaled="0"/>
              </a:gra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 Light" pitchFamily="2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hteck 7">
              <a:extLst>
                <a:ext uri="{FF2B5EF4-FFF2-40B4-BE49-F238E27FC236}">
                  <a16:creationId xmlns:a16="http://schemas.microsoft.com/office/drawing/2014/main" id="{E78AFB0D-9E5F-7E44-D459-B22A6110F3A6}"/>
                </a:ext>
              </a:extLst>
            </p:cNvPr>
            <p:cNvSpPr/>
            <p:nvPr/>
          </p:nvSpPr>
          <p:spPr>
            <a:xfrm>
              <a:off x="634968" y="4692859"/>
              <a:ext cx="1078666" cy="58217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nrope" panose="020B0604020202020204" charset="0"/>
                  <a:ea typeface="+mn-ea"/>
                  <a:cs typeface="+mn-cs"/>
                </a:rPr>
                <a:t>Network  Servic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anose="020B0604020202020204" charset="0"/>
                <a:ea typeface="+mn-ea"/>
                <a:cs typeface="+mn-cs"/>
              </a:endParaRPr>
            </a:p>
          </p:txBody>
        </p:sp>
        <p:grpSp>
          <p:nvGrpSpPr>
            <p:cNvPr id="2053" name="Gruppieren 2052">
              <a:extLst>
                <a:ext uri="{FF2B5EF4-FFF2-40B4-BE49-F238E27FC236}">
                  <a16:creationId xmlns:a16="http://schemas.microsoft.com/office/drawing/2014/main" id="{0BCD38E9-C79E-180C-823B-D55414C6AC18}"/>
                </a:ext>
              </a:extLst>
            </p:cNvPr>
            <p:cNvGrpSpPr/>
            <p:nvPr/>
          </p:nvGrpSpPr>
          <p:grpSpPr>
            <a:xfrm>
              <a:off x="395728" y="4547899"/>
              <a:ext cx="316510" cy="951155"/>
              <a:chOff x="395728" y="4547899"/>
              <a:chExt cx="316510" cy="951155"/>
            </a:xfrm>
          </p:grpSpPr>
          <p:cxnSp>
            <p:nvCxnSpPr>
              <p:cNvPr id="50" name="Gerade Verbindung 49">
                <a:extLst>
                  <a:ext uri="{FF2B5EF4-FFF2-40B4-BE49-F238E27FC236}">
                    <a16:creationId xmlns:a16="http://schemas.microsoft.com/office/drawing/2014/main" id="{708FB27A-9104-21AE-54A6-29E543F4053B}"/>
                  </a:ext>
                </a:extLst>
              </p:cNvPr>
              <p:cNvCxnSpPr>
                <a:cxnSpLocks/>
                <a:stCxn id="37" idx="4"/>
              </p:cNvCxnSpPr>
              <p:nvPr/>
            </p:nvCxnSpPr>
            <p:spPr>
              <a:xfrm flipH="1">
                <a:off x="466928" y="5255590"/>
                <a:ext cx="240446" cy="243464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>
                <a:extLst>
                  <a:ext uri="{FF2B5EF4-FFF2-40B4-BE49-F238E27FC236}">
                    <a16:creationId xmlns:a16="http://schemas.microsoft.com/office/drawing/2014/main" id="{139AF875-21AE-5A39-8899-61CA3781B2F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07299" y="4547899"/>
                <a:ext cx="304939" cy="162942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>
                <a:extLst>
                  <a:ext uri="{FF2B5EF4-FFF2-40B4-BE49-F238E27FC236}">
                    <a16:creationId xmlns:a16="http://schemas.microsoft.com/office/drawing/2014/main" id="{B972691F-F8EC-6F19-8C7A-769A64DC21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5728" y="4992478"/>
                <a:ext cx="313738" cy="0"/>
              </a:xfrm>
              <a:prstGeom prst="line">
                <a:avLst/>
              </a:prstGeom>
              <a:ln>
                <a:gradFill>
                  <a:gsLst>
                    <a:gs pos="100000">
                      <a:schemeClr val="accent1">
                        <a:lumMod val="5000"/>
                        <a:lumOff val="9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108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54" name="Gruppieren 2053">
              <a:extLst>
                <a:ext uri="{FF2B5EF4-FFF2-40B4-BE49-F238E27FC236}">
                  <a16:creationId xmlns:a16="http://schemas.microsoft.com/office/drawing/2014/main" id="{CBF77075-654E-D14A-B4FC-C90CC8A78C2A}"/>
                </a:ext>
              </a:extLst>
            </p:cNvPr>
            <p:cNvGrpSpPr/>
            <p:nvPr/>
          </p:nvGrpSpPr>
          <p:grpSpPr>
            <a:xfrm rot="10800000">
              <a:off x="1641492" y="4469972"/>
              <a:ext cx="316510" cy="951155"/>
              <a:chOff x="395728" y="4547899"/>
              <a:chExt cx="316510" cy="951155"/>
            </a:xfrm>
          </p:grpSpPr>
          <p:cxnSp>
            <p:nvCxnSpPr>
              <p:cNvPr id="2055" name="Gerade Verbindung 2054">
                <a:extLst>
                  <a:ext uri="{FF2B5EF4-FFF2-40B4-BE49-F238E27FC236}">
                    <a16:creationId xmlns:a16="http://schemas.microsoft.com/office/drawing/2014/main" id="{D07AAEB1-8106-3FCE-5007-FD2278FD60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6928" y="5255590"/>
                <a:ext cx="240446" cy="243464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6" name="Gerade Verbindung 2055">
                <a:extLst>
                  <a:ext uri="{FF2B5EF4-FFF2-40B4-BE49-F238E27FC236}">
                    <a16:creationId xmlns:a16="http://schemas.microsoft.com/office/drawing/2014/main" id="{4DB4DCA2-8AE3-1F7F-7388-C285B059768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07299" y="4547899"/>
                <a:ext cx="304939" cy="162942"/>
              </a:xfrm>
              <a:prstGeom prst="line">
                <a:avLst/>
              </a:prstGeom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7" name="Gerade Verbindung 2056">
                <a:extLst>
                  <a:ext uri="{FF2B5EF4-FFF2-40B4-BE49-F238E27FC236}">
                    <a16:creationId xmlns:a16="http://schemas.microsoft.com/office/drawing/2014/main" id="{34D5FA1A-6BAC-D86C-BEF0-86BDD8564E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5728" y="4992478"/>
                <a:ext cx="313738" cy="0"/>
              </a:xfrm>
              <a:prstGeom prst="line">
                <a:avLst/>
              </a:prstGeom>
              <a:ln>
                <a:gradFill>
                  <a:gsLst>
                    <a:gs pos="100000">
                      <a:schemeClr val="accent1">
                        <a:lumMod val="5000"/>
                        <a:lumOff val="95000"/>
                      </a:schemeClr>
                    </a:gs>
                    <a:gs pos="0">
                      <a:schemeClr val="bg1">
                        <a:alpha val="0"/>
                      </a:schemeClr>
                    </a:gs>
                  </a:gsLst>
                  <a:lin ang="108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58" name="Gerade Verbindung 2057">
              <a:extLst>
                <a:ext uri="{FF2B5EF4-FFF2-40B4-BE49-F238E27FC236}">
                  <a16:creationId xmlns:a16="http://schemas.microsoft.com/office/drawing/2014/main" id="{090E4DD7-E546-D1DC-465E-41F6C9BA4DCE}"/>
                </a:ext>
              </a:extLst>
            </p:cNvPr>
            <p:cNvCxnSpPr>
              <a:cxnSpLocks/>
            </p:cNvCxnSpPr>
            <p:nvPr/>
          </p:nvCxnSpPr>
          <p:spPr>
            <a:xfrm>
              <a:off x="1179529" y="5518526"/>
              <a:ext cx="0" cy="279077"/>
            </a:xfrm>
            <a:prstGeom prst="line">
              <a:avLst/>
            </a:prstGeom>
            <a:ln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162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66" name="Rechteck 2065">
            <a:extLst>
              <a:ext uri="{FF2B5EF4-FFF2-40B4-BE49-F238E27FC236}">
                <a16:creationId xmlns:a16="http://schemas.microsoft.com/office/drawing/2014/main" id="{9B42A56F-0A1E-F5AF-83FB-A300D0A5E0A4}"/>
              </a:ext>
            </a:extLst>
          </p:cNvPr>
          <p:cNvSpPr/>
          <p:nvPr/>
        </p:nvSpPr>
        <p:spPr>
          <a:xfrm>
            <a:off x="10464897" y="-609600"/>
            <a:ext cx="1727103" cy="540112"/>
          </a:xfrm>
          <a:prstGeom prst="rect">
            <a:avLst/>
          </a:prstGeom>
          <a:solidFill>
            <a:srgbClr val="7030A0"/>
          </a:solidFill>
        </p:spPr>
        <p:txBody>
          <a:bodyPr vert="horz" wrap="none" lIns="144000" tIns="144000" rIns="144000" bIns="144000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ea typeface="+mn-ea"/>
                <a:cs typeface="Arial" panose="020B0604020202020204" pitchFamily="34" charset="0"/>
              </a:rPr>
              <a:t>Zur Freigabe</a:t>
            </a:r>
          </a:p>
        </p:txBody>
      </p:sp>
    </p:spTree>
    <p:extLst>
      <p:ext uri="{BB962C8B-B14F-4D97-AF65-F5344CB8AC3E}">
        <p14:creationId xmlns:p14="http://schemas.microsoft.com/office/powerpoint/2010/main" val="163380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441187a-2999-49d3-af88-4b3a4b5554ca" xsi:nil="true"/>
    <lcf76f155ced4ddcb4097134ff3c332f xmlns="0c15be00-22f5-4268-a71a-6d53a16e7152">
      <Terms xmlns="http://schemas.microsoft.com/office/infopath/2007/PartnerControls"/>
    </lcf76f155ced4ddcb4097134ff3c332f>
    <MediaLengthInSeconds xmlns="0c15be00-22f5-4268-a71a-6d53a16e7152" xsi:nil="true"/>
    <SharedWithUsers xmlns="b441187a-2999-49d3-af88-4b3a4b5554ca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72296E1DC7314BB2FD366578249C70" ma:contentTypeVersion="13" ma:contentTypeDescription="Ein neues Dokument erstellen." ma:contentTypeScope="" ma:versionID="dce9fe407cd7c9041f2066a3a7128aae">
  <xsd:schema xmlns:xsd="http://www.w3.org/2001/XMLSchema" xmlns:xs="http://www.w3.org/2001/XMLSchema" xmlns:p="http://schemas.microsoft.com/office/2006/metadata/properties" xmlns:ns2="0c15be00-22f5-4268-a71a-6d53a16e7152" xmlns:ns3="b441187a-2999-49d3-af88-4b3a4b5554ca" targetNamespace="http://schemas.microsoft.com/office/2006/metadata/properties" ma:root="true" ma:fieldsID="d56bac6574af212a6297aba889329cab" ns2:_="" ns3:_="">
    <xsd:import namespace="0c15be00-22f5-4268-a71a-6d53a16e7152"/>
    <xsd:import namespace="b441187a-2999-49d3-af88-4b3a4b5554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15be00-22f5-4268-a71a-6d53a16e71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81df2aa-75df-4b8f-835e-b34a4310bc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41187a-2999-49d3-af88-4b3a4b5554c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c50f44-131f-4b37-a50b-ca998a7ee8b3}" ma:internalName="TaxCatchAll" ma:showField="CatchAllData" ma:web="b441187a-2999-49d3-af88-4b3a4b5554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97365B-A541-4817-9130-76AA4F3B7206}">
  <ds:schemaRefs>
    <ds:schemaRef ds:uri="http://www.w3.org/XML/1998/namespace"/>
    <ds:schemaRef ds:uri="http://schemas.openxmlformats.org/package/2006/metadata/core-properties"/>
    <ds:schemaRef ds:uri="http://purl.org/dc/dcmitype/"/>
    <ds:schemaRef ds:uri="0c15be00-22f5-4268-a71a-6d53a16e7152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b441187a-2999-49d3-af88-4b3a4b5554ca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52BB59-D37C-4E95-A203-7C7BD3F156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15be00-22f5-4268-a71a-6d53a16e7152"/>
    <ds:schemaRef ds:uri="b441187a-2999-49d3-af88-4b3a4b5554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7b563a01-caf2-48ed-8708-7300e4e42e72}" enabled="1" method="Privileged" siteId="{763b2760-45c5-46d3-883e-29705bba49b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7</Words>
  <Application>Microsoft Office PowerPoint</Application>
  <PresentationFormat>Breitbild</PresentationFormat>
  <Paragraphs>82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6" baseType="lpstr">
      <vt:lpstr>Arial</vt:lpstr>
      <vt:lpstr>BMWGroupTN Condensed</vt:lpstr>
      <vt:lpstr>Calibri</vt:lpstr>
      <vt:lpstr>CorpoS</vt:lpstr>
      <vt:lpstr>Imago Pro Light</vt:lpstr>
      <vt:lpstr>Manrope</vt:lpstr>
      <vt:lpstr>Manrope ExtraBold</vt:lpstr>
      <vt:lpstr>Manrope Light</vt:lpstr>
      <vt:lpstr>Manrope SemiBold</vt:lpstr>
      <vt:lpstr>Wingdings</vt:lpstr>
      <vt:lpstr>Office</vt:lpstr>
      <vt:lpstr>1_Office</vt:lpstr>
      <vt:lpstr>think-cell Folie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kus: Fraunhofer Kooperation.</dc:title>
  <dc:creator>Anika</dc:creator>
  <cp:lastModifiedBy>Klaus Nirschl</cp:lastModifiedBy>
  <cp:revision>55</cp:revision>
  <cp:lastPrinted>2023-02-20T07:18:22Z</cp:lastPrinted>
  <dcterms:created xsi:type="dcterms:W3CDTF">2022-05-09T07:37:59Z</dcterms:created>
  <dcterms:modified xsi:type="dcterms:W3CDTF">2024-03-22T13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1C9E28E0365446AB12859141F7D283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MSIP_Label_924dbb1d-991d-4bbd-aad5-33bac1d8ffaf_Enabled">
    <vt:lpwstr>true</vt:lpwstr>
  </property>
  <property fmtid="{D5CDD505-2E9C-101B-9397-08002B2CF9AE}" pid="19" name="MSIP_Label_924dbb1d-991d-4bbd-aad5-33bac1d8ffaf_SetDate">
    <vt:lpwstr>2023-06-01T07:47:18Z</vt:lpwstr>
  </property>
  <property fmtid="{D5CDD505-2E9C-101B-9397-08002B2CF9AE}" pid="20" name="MSIP_Label_924dbb1d-991d-4bbd-aad5-33bac1d8ffaf_Method">
    <vt:lpwstr>Standard</vt:lpwstr>
  </property>
  <property fmtid="{D5CDD505-2E9C-101B-9397-08002B2CF9AE}" pid="21" name="MSIP_Label_924dbb1d-991d-4bbd-aad5-33bac1d8ffaf_Name">
    <vt:lpwstr>924dbb1d-991d-4bbd-aad5-33bac1d8ffaf</vt:lpwstr>
  </property>
  <property fmtid="{D5CDD505-2E9C-101B-9397-08002B2CF9AE}" pid="22" name="MSIP_Label_924dbb1d-991d-4bbd-aad5-33bac1d8ffaf_SiteId">
    <vt:lpwstr>9652d7c2-1ccf-4940-8151-4a92bd474ed0</vt:lpwstr>
  </property>
  <property fmtid="{D5CDD505-2E9C-101B-9397-08002B2CF9AE}" pid="23" name="MSIP_Label_924dbb1d-991d-4bbd-aad5-33bac1d8ffaf_ActionId">
    <vt:lpwstr>70de2016-01f7-432f-8576-5fe4165f0ee3</vt:lpwstr>
  </property>
  <property fmtid="{D5CDD505-2E9C-101B-9397-08002B2CF9AE}" pid="24" name="MSIP_Label_924dbb1d-991d-4bbd-aad5-33bac1d8ffaf_ContentBits">
    <vt:lpwstr>1</vt:lpwstr>
  </property>
  <property fmtid="{D5CDD505-2E9C-101B-9397-08002B2CF9AE}" pid="25" name="ClassificationContentMarkingHeaderLocations">
    <vt:lpwstr>Office:5</vt:lpwstr>
  </property>
  <property fmtid="{D5CDD505-2E9C-101B-9397-08002B2CF9AE}" pid="26" name="ClassificationContentMarkingHeaderText">
    <vt:lpwstr>Internal</vt:lpwstr>
  </property>
</Properties>
</file>